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6" r:id="rId5"/>
    <p:sldId id="359" r:id="rId6"/>
    <p:sldId id="346" r:id="rId7"/>
    <p:sldId id="376" r:id="rId8"/>
    <p:sldId id="275" r:id="rId9"/>
    <p:sldId id="259" r:id="rId10"/>
    <p:sldId id="315" r:id="rId11"/>
    <p:sldId id="371" r:id="rId12"/>
    <p:sldId id="373" r:id="rId13"/>
    <p:sldId id="317" r:id="rId14"/>
    <p:sldId id="307" r:id="rId15"/>
    <p:sldId id="324" r:id="rId16"/>
    <p:sldId id="377" r:id="rId17"/>
    <p:sldId id="372" r:id="rId18"/>
    <p:sldId id="378" r:id="rId19"/>
    <p:sldId id="362" r:id="rId20"/>
    <p:sldId id="333" r:id="rId21"/>
    <p:sldId id="271" r:id="rId22"/>
    <p:sldId id="302" r:id="rId23"/>
    <p:sldId id="280" r:id="rId24"/>
    <p:sldId id="329" r:id="rId25"/>
    <p:sldId id="379" r:id="rId26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Delivery" panose="020F0503020204020204" pitchFamily="34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C00"/>
    <a:srgbClr val="FEC6C9"/>
    <a:srgbClr val="FFF5CC"/>
    <a:srgbClr val="D405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7C214A-A08D-4269-B6D6-ED1059A9A1B7}" v="73" dt="2023-08-30T07:03:04.858"/>
  </p1510:revLst>
</p1510:revInfo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01" autoAdjust="0"/>
    <p:restoredTop sz="93758" autoAdjust="0"/>
  </p:normalViewPr>
  <p:slideViewPr>
    <p:cSldViewPr snapToGrid="0">
      <p:cViewPr>
        <p:scale>
          <a:sx n="100" d="100"/>
          <a:sy n="100" d="100"/>
        </p:scale>
        <p:origin x="272" y="48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font" Target="fonts/font6.fntdata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1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4.fntdata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5.fntdata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ista Maengklang (DHL Supply Chain)" userId="ad1f2d93-3414-4a1e-88bb-7a193031eec8" providerId="ADAL" clId="{B51BD21E-BC04-4DE3-98AD-4F9624D67611}"/>
    <pc:docChg chg="undo custSel modSld">
      <pc:chgData name="Janista Maengklang (DHL Supply Chain)" userId="ad1f2d93-3414-4a1e-88bb-7a193031eec8" providerId="ADAL" clId="{B51BD21E-BC04-4DE3-98AD-4F9624D67611}" dt="2023-08-29T07:12:34.189" v="1919" actId="14100"/>
      <pc:docMkLst>
        <pc:docMk/>
      </pc:docMkLst>
      <pc:sldChg chg="addSp delSp modSp mod">
        <pc:chgData name="Janista Maengklang (DHL Supply Chain)" userId="ad1f2d93-3414-4a1e-88bb-7a193031eec8" providerId="ADAL" clId="{B51BD21E-BC04-4DE3-98AD-4F9624D67611}" dt="2023-08-29T07:05:54.119" v="1896" actId="20577"/>
        <pc:sldMkLst>
          <pc:docMk/>
          <pc:sldMk cId="1401506289" sldId="259"/>
        </pc:sldMkLst>
        <pc:spChg chg="add del mod">
          <ac:chgData name="Janista Maengklang (DHL Supply Chain)" userId="ad1f2d93-3414-4a1e-88bb-7a193031eec8" providerId="ADAL" clId="{B51BD21E-BC04-4DE3-98AD-4F9624D67611}" dt="2023-08-23T08:55:31.627" v="853"/>
          <ac:spMkLst>
            <pc:docMk/>
            <pc:sldMk cId="1401506289" sldId="259"/>
            <ac:spMk id="3" creationId="{2660FC3F-7BED-CEBF-EDF9-E5C81D50A619}"/>
          </ac:spMkLst>
        </pc:spChg>
        <pc:spChg chg="add del mod">
          <ac:chgData name="Janista Maengklang (DHL Supply Chain)" userId="ad1f2d93-3414-4a1e-88bb-7a193031eec8" providerId="ADAL" clId="{B51BD21E-BC04-4DE3-98AD-4F9624D67611}" dt="2023-08-25T09:21:58.186" v="1696" actId="478"/>
          <ac:spMkLst>
            <pc:docMk/>
            <pc:sldMk cId="1401506289" sldId="259"/>
            <ac:spMk id="3" creationId="{449F38C9-88EA-9546-2E5E-62ADD7E3D46A}"/>
          </ac:spMkLst>
        </pc:spChg>
        <pc:spChg chg="add del mod">
          <ac:chgData name="Janista Maengklang (DHL Supply Chain)" userId="ad1f2d93-3414-4a1e-88bb-7a193031eec8" providerId="ADAL" clId="{B51BD21E-BC04-4DE3-98AD-4F9624D67611}" dt="2023-08-23T08:41:00.756" v="318"/>
          <ac:spMkLst>
            <pc:docMk/>
            <pc:sldMk cId="1401506289" sldId="259"/>
            <ac:spMk id="4" creationId="{3DF20FF0-7DF4-E887-618E-AD8CF3E37CB3}"/>
          </ac:spMkLst>
        </pc:spChg>
        <pc:spChg chg="add mod">
          <ac:chgData name="Janista Maengklang (DHL Supply Chain)" userId="ad1f2d93-3414-4a1e-88bb-7a193031eec8" providerId="ADAL" clId="{B51BD21E-BC04-4DE3-98AD-4F9624D67611}" dt="2023-08-25T09:31:14.647" v="1872"/>
          <ac:spMkLst>
            <pc:docMk/>
            <pc:sldMk cId="1401506289" sldId="259"/>
            <ac:spMk id="4" creationId="{53B40E38-43BF-4508-546F-6EEDDB0C1401}"/>
          </ac:spMkLst>
        </pc:spChg>
        <pc:spChg chg="add mod">
          <ac:chgData name="Janista Maengklang (DHL Supply Chain)" userId="ad1f2d93-3414-4a1e-88bb-7a193031eec8" providerId="ADAL" clId="{B51BD21E-BC04-4DE3-98AD-4F9624D67611}" dt="2023-08-29T07:05:54.119" v="1896" actId="20577"/>
          <ac:spMkLst>
            <pc:docMk/>
            <pc:sldMk cId="1401506289" sldId="259"/>
            <ac:spMk id="7" creationId="{ABD224A3-7342-D847-8198-65C05CC973F4}"/>
          </ac:spMkLst>
        </pc:spChg>
        <pc:spChg chg="add mod">
          <ac:chgData name="Janista Maengklang (DHL Supply Chain)" userId="ad1f2d93-3414-4a1e-88bb-7a193031eec8" providerId="ADAL" clId="{B51BD21E-BC04-4DE3-98AD-4F9624D67611}" dt="2023-08-25T09:10:43.369" v="1036" actId="20577"/>
          <ac:spMkLst>
            <pc:docMk/>
            <pc:sldMk cId="1401506289" sldId="259"/>
            <ac:spMk id="12" creationId="{6A0FADA9-6EFA-70AA-F8CA-251E19380328}"/>
          </ac:spMkLst>
        </pc:spChg>
        <pc:picChg chg="mod">
          <ac:chgData name="Janista Maengklang (DHL Supply Chain)" userId="ad1f2d93-3414-4a1e-88bb-7a193031eec8" providerId="ADAL" clId="{B51BD21E-BC04-4DE3-98AD-4F9624D67611}" dt="2023-08-23T08:55:09.512" v="837" actId="1076"/>
          <ac:picMkLst>
            <pc:docMk/>
            <pc:sldMk cId="1401506289" sldId="259"/>
            <ac:picMk id="11" creationId="{47E07F14-C700-4901-991C-F0E1B9763CAA}"/>
          </ac:picMkLst>
        </pc:picChg>
      </pc:sldChg>
      <pc:sldChg chg="modSp mod">
        <pc:chgData name="Janista Maengklang (DHL Supply Chain)" userId="ad1f2d93-3414-4a1e-88bb-7a193031eec8" providerId="ADAL" clId="{B51BD21E-BC04-4DE3-98AD-4F9624D67611}" dt="2023-08-29T07:12:34.189" v="1919" actId="14100"/>
        <pc:sldMkLst>
          <pc:docMk/>
          <pc:sldMk cId="864384667" sldId="302"/>
        </pc:sldMkLst>
        <pc:spChg chg="mod">
          <ac:chgData name="Janista Maengklang (DHL Supply Chain)" userId="ad1f2d93-3414-4a1e-88bb-7a193031eec8" providerId="ADAL" clId="{B51BD21E-BC04-4DE3-98AD-4F9624D67611}" dt="2023-08-29T07:12:34.189" v="1919" actId="14100"/>
          <ac:spMkLst>
            <pc:docMk/>
            <pc:sldMk cId="864384667" sldId="302"/>
            <ac:spMk id="18" creationId="{7BF30A18-711E-4C52-8335-9FC90123B67D}"/>
          </ac:spMkLst>
        </pc:spChg>
        <pc:picChg chg="mod">
          <ac:chgData name="Janista Maengklang (DHL Supply Chain)" userId="ad1f2d93-3414-4a1e-88bb-7a193031eec8" providerId="ADAL" clId="{B51BD21E-BC04-4DE3-98AD-4F9624D67611}" dt="2023-08-29T07:12:31.706" v="1918" actId="1076"/>
          <ac:picMkLst>
            <pc:docMk/>
            <pc:sldMk cId="864384667" sldId="302"/>
            <ac:picMk id="16" creationId="{967CB5BF-CB9A-F8F0-E5EE-7EF7A2F84E48}"/>
          </ac:picMkLst>
        </pc:picChg>
      </pc:sldChg>
      <pc:sldChg chg="modSp mod">
        <pc:chgData name="Janista Maengklang (DHL Supply Chain)" userId="ad1f2d93-3414-4a1e-88bb-7a193031eec8" providerId="ADAL" clId="{B51BD21E-BC04-4DE3-98AD-4F9624D67611}" dt="2023-08-28T06:02:51.475" v="1885" actId="20577"/>
        <pc:sldMkLst>
          <pc:docMk/>
          <pc:sldMk cId="2454080726" sldId="359"/>
        </pc:sldMkLst>
        <pc:spChg chg="mod">
          <ac:chgData name="Janista Maengklang (DHL Supply Chain)" userId="ad1f2d93-3414-4a1e-88bb-7a193031eec8" providerId="ADAL" clId="{B51BD21E-BC04-4DE3-98AD-4F9624D67611}" dt="2023-08-28T06:02:51.475" v="1885" actId="20577"/>
          <ac:spMkLst>
            <pc:docMk/>
            <pc:sldMk cId="2454080726" sldId="359"/>
            <ac:spMk id="6" creationId="{5691C4B2-D6C9-4193-EDAB-932621B20F35}"/>
          </ac:spMkLst>
        </pc:spChg>
      </pc:sldChg>
      <pc:sldChg chg="addSp modSp mod">
        <pc:chgData name="Janista Maengklang (DHL Supply Chain)" userId="ad1f2d93-3414-4a1e-88bb-7a193031eec8" providerId="ADAL" clId="{B51BD21E-BC04-4DE3-98AD-4F9624D67611}" dt="2023-08-23T08:37:03.697" v="247" actId="14100"/>
        <pc:sldMkLst>
          <pc:docMk/>
          <pc:sldMk cId="589304412" sldId="376"/>
        </pc:sldMkLst>
        <pc:spChg chg="mod">
          <ac:chgData name="Janista Maengklang (DHL Supply Chain)" userId="ad1f2d93-3414-4a1e-88bb-7a193031eec8" providerId="ADAL" clId="{B51BD21E-BC04-4DE3-98AD-4F9624D67611}" dt="2023-08-23T08:34:17.920" v="162" actId="20577"/>
          <ac:spMkLst>
            <pc:docMk/>
            <pc:sldMk cId="589304412" sldId="376"/>
            <ac:spMk id="2" creationId="{36ED079E-C14E-3DF2-F622-ABC4C47666BF}"/>
          </ac:spMkLst>
        </pc:spChg>
        <pc:spChg chg="add mod">
          <ac:chgData name="Janista Maengklang (DHL Supply Chain)" userId="ad1f2d93-3414-4a1e-88bb-7a193031eec8" providerId="ADAL" clId="{B51BD21E-BC04-4DE3-98AD-4F9624D67611}" dt="2023-08-23T08:28:16.084" v="99" actId="20577"/>
          <ac:spMkLst>
            <pc:docMk/>
            <pc:sldMk cId="589304412" sldId="376"/>
            <ac:spMk id="4" creationId="{3A5938B6-08B6-9B9C-82CB-D8704F58F6A5}"/>
          </ac:spMkLst>
        </pc:spChg>
        <pc:spChg chg="add mod">
          <ac:chgData name="Janista Maengklang (DHL Supply Chain)" userId="ad1f2d93-3414-4a1e-88bb-7a193031eec8" providerId="ADAL" clId="{B51BD21E-BC04-4DE3-98AD-4F9624D67611}" dt="2023-08-23T08:29:44.256" v="123" actId="20577"/>
          <ac:spMkLst>
            <pc:docMk/>
            <pc:sldMk cId="589304412" sldId="376"/>
            <ac:spMk id="5" creationId="{E6C92D75-5CE3-C570-6A5C-431EA9C4AF8B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43.858" v="216" actId="14100"/>
          <ac:spMkLst>
            <pc:docMk/>
            <pc:sldMk cId="589304412" sldId="376"/>
            <ac:spMk id="7" creationId="{8FAC26AA-2A75-DE9D-B1A1-FED751267D74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50.937" v="227" actId="14100"/>
          <ac:spMkLst>
            <pc:docMk/>
            <pc:sldMk cId="589304412" sldId="376"/>
            <ac:spMk id="8" creationId="{609B893D-0CEB-4BCC-FF92-BA75EE3B9F07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57.685" v="238" actId="14100"/>
          <ac:spMkLst>
            <pc:docMk/>
            <pc:sldMk cId="589304412" sldId="376"/>
            <ac:spMk id="9" creationId="{C1CF6A05-0E9E-4A30-5AF0-E7A6A0056861}"/>
          </ac:spMkLst>
        </pc:spChg>
        <pc:spChg chg="add mod">
          <ac:chgData name="Janista Maengklang (DHL Supply Chain)" userId="ad1f2d93-3414-4a1e-88bb-7a193031eec8" providerId="ADAL" clId="{B51BD21E-BC04-4DE3-98AD-4F9624D67611}" dt="2023-08-23T08:37:03.697" v="247" actId="14100"/>
          <ac:spMkLst>
            <pc:docMk/>
            <pc:sldMk cId="589304412" sldId="376"/>
            <ac:spMk id="10" creationId="{FCC4EAB2-5351-1809-A170-0BFB48074AB5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01.598" v="177" actId="1076"/>
          <ac:spMkLst>
            <pc:docMk/>
            <pc:sldMk cId="589304412" sldId="376"/>
            <ac:spMk id="11" creationId="{49D90253-737C-0C10-FE5F-0BD929B8F17F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11.697" v="187" actId="1036"/>
          <ac:spMkLst>
            <pc:docMk/>
            <pc:sldMk cId="589304412" sldId="376"/>
            <ac:spMk id="12" creationId="{9D850587-434E-8DB3-F719-BD80075B07EC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28.010" v="205" actId="20577"/>
          <ac:spMkLst>
            <pc:docMk/>
            <pc:sldMk cId="589304412" sldId="376"/>
            <ac:spMk id="13" creationId="{2226208B-9816-9C9E-79D0-96B2E6A68C55}"/>
          </ac:spMkLst>
        </pc:spChg>
        <pc:spChg chg="add mod">
          <ac:chgData name="Janista Maengklang (DHL Supply Chain)" userId="ad1f2d93-3414-4a1e-88bb-7a193031eec8" providerId="ADAL" clId="{B51BD21E-BC04-4DE3-98AD-4F9624D67611}" dt="2023-08-23T08:36:34.422" v="207" actId="1076"/>
          <ac:spMkLst>
            <pc:docMk/>
            <pc:sldMk cId="589304412" sldId="376"/>
            <ac:spMk id="14" creationId="{6E115B51-7EAD-E950-ABD5-2C6901882E36}"/>
          </ac:spMkLst>
        </pc:spChg>
      </pc:sldChg>
    </pc:docChg>
  </pc:docChgLst>
  <pc:docChgLst>
    <pc:chgData name="Suwapatch Euaraksakul (DHL Supply Chain)" userId="015e9e9a-4b13-46b3-965a-6d3b09440de1" providerId="ADAL" clId="{937C214A-A08D-4269-B6D6-ED1059A9A1B7}"/>
    <pc:docChg chg="undo redo custSel modSld sldOrd">
      <pc:chgData name="Suwapatch Euaraksakul (DHL Supply Chain)" userId="015e9e9a-4b13-46b3-965a-6d3b09440de1" providerId="ADAL" clId="{937C214A-A08D-4269-B6D6-ED1059A9A1B7}" dt="2023-08-30T08:56:47.855" v="1443" actId="20577"/>
      <pc:docMkLst>
        <pc:docMk/>
      </pc:docMkLst>
      <pc:sldChg chg="addSp delSp modSp mod">
        <pc:chgData name="Suwapatch Euaraksakul (DHL Supply Chain)" userId="015e9e9a-4b13-46b3-965a-6d3b09440de1" providerId="ADAL" clId="{937C214A-A08D-4269-B6D6-ED1059A9A1B7}" dt="2023-08-29T07:22:29.836" v="1401" actId="6549"/>
        <pc:sldMkLst>
          <pc:docMk/>
          <pc:sldMk cId="1401506289" sldId="259"/>
        </pc:sldMkLst>
        <pc:spChg chg="mod">
          <ac:chgData name="Suwapatch Euaraksakul (DHL Supply Chain)" userId="015e9e9a-4b13-46b3-965a-6d3b09440de1" providerId="ADAL" clId="{937C214A-A08D-4269-B6D6-ED1059A9A1B7}" dt="2023-08-23T08:36:23.495" v="269" actId="20577"/>
          <ac:spMkLst>
            <pc:docMk/>
            <pc:sldMk cId="1401506289" sldId="259"/>
            <ac:spMk id="2" creationId="{00000000-0000-0000-0000-000000000000}"/>
          </ac:spMkLst>
        </pc:spChg>
        <pc:spChg chg="add del mod">
          <ac:chgData name="Suwapatch Euaraksakul (DHL Supply Chain)" userId="015e9e9a-4b13-46b3-965a-6d3b09440de1" providerId="ADAL" clId="{937C214A-A08D-4269-B6D6-ED1059A9A1B7}" dt="2023-08-29T07:09:42.916" v="1381"/>
          <ac:spMkLst>
            <pc:docMk/>
            <pc:sldMk cId="1401506289" sldId="259"/>
            <ac:spMk id="3" creationId="{5AE6A095-16F5-E799-D667-D1EA8BFAFC26}"/>
          </ac:spMkLst>
        </pc:spChg>
        <pc:spChg chg="del mod">
          <ac:chgData name="Suwapatch Euaraksakul (DHL Supply Chain)" userId="015e9e9a-4b13-46b3-965a-6d3b09440de1" providerId="ADAL" clId="{937C214A-A08D-4269-B6D6-ED1059A9A1B7}" dt="2023-08-29T06:59:40.641" v="1341" actId="478"/>
          <ac:spMkLst>
            <pc:docMk/>
            <pc:sldMk cId="1401506289" sldId="259"/>
            <ac:spMk id="4" creationId="{53B40E38-43BF-4508-546F-6EEDDB0C1401}"/>
          </ac:spMkLst>
        </pc:spChg>
        <pc:spChg chg="mod">
          <ac:chgData name="Suwapatch Euaraksakul (DHL Supply Chain)" userId="015e9e9a-4b13-46b3-965a-6d3b09440de1" providerId="ADAL" clId="{937C214A-A08D-4269-B6D6-ED1059A9A1B7}" dt="2023-08-29T07:22:29.836" v="1401" actId="6549"/>
          <ac:spMkLst>
            <pc:docMk/>
            <pc:sldMk cId="1401506289" sldId="259"/>
            <ac:spMk id="7" creationId="{ABD224A3-7342-D847-8198-65C05CC973F4}"/>
          </ac:spMkLst>
        </pc:spChg>
        <pc:spChg chg="mod">
          <ac:chgData name="Suwapatch Euaraksakul (DHL Supply Chain)" userId="015e9e9a-4b13-46b3-965a-6d3b09440de1" providerId="ADAL" clId="{937C214A-A08D-4269-B6D6-ED1059A9A1B7}" dt="2023-08-29T07:05:25.943" v="1375" actId="948"/>
          <ac:spMkLst>
            <pc:docMk/>
            <pc:sldMk cId="1401506289" sldId="259"/>
            <ac:spMk id="12" creationId="{6A0FADA9-6EFA-70AA-F8CA-251E19380328}"/>
          </ac:spMkLst>
        </pc:spChg>
        <pc:spChg chg="add del mod">
          <ac:chgData name="Suwapatch Euaraksakul (DHL Supply Chain)" userId="015e9e9a-4b13-46b3-965a-6d3b09440de1" providerId="ADAL" clId="{937C214A-A08D-4269-B6D6-ED1059A9A1B7}" dt="2023-08-29T07:09:42.916" v="1381"/>
          <ac:spMkLst>
            <pc:docMk/>
            <pc:sldMk cId="1401506289" sldId="259"/>
            <ac:spMk id="13" creationId="{8008FFF7-7D89-8E63-A586-E05C37B66929}"/>
          </ac:spMkLst>
        </pc:spChg>
        <pc:spChg chg="add del mod">
          <ac:chgData name="Suwapatch Euaraksakul (DHL Supply Chain)" userId="015e9e9a-4b13-46b3-965a-6d3b09440de1" providerId="ADAL" clId="{937C214A-A08D-4269-B6D6-ED1059A9A1B7}" dt="2023-08-29T07:09:45.822" v="1383"/>
          <ac:spMkLst>
            <pc:docMk/>
            <pc:sldMk cId="1401506289" sldId="259"/>
            <ac:spMk id="14" creationId="{15D1B034-E775-ABB6-7D5B-33CC5872D1A3}"/>
          </ac:spMkLst>
        </pc:spChg>
        <pc:spChg chg="add del mod">
          <ac:chgData name="Suwapatch Euaraksakul (DHL Supply Chain)" userId="015e9e9a-4b13-46b3-965a-6d3b09440de1" providerId="ADAL" clId="{937C214A-A08D-4269-B6D6-ED1059A9A1B7}" dt="2023-08-29T07:09:45.822" v="1383"/>
          <ac:spMkLst>
            <pc:docMk/>
            <pc:sldMk cId="1401506289" sldId="259"/>
            <ac:spMk id="15" creationId="{7690B0A3-BF90-B1C4-B983-5407FCCC0FC4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9T07:24:20.464" v="1409" actId="14100"/>
        <pc:sldMkLst>
          <pc:docMk/>
          <pc:sldMk cId="3395544189" sldId="271"/>
        </pc:sldMkLst>
        <pc:spChg chg="mod">
          <ac:chgData name="Suwapatch Euaraksakul (DHL Supply Chain)" userId="015e9e9a-4b13-46b3-965a-6d3b09440de1" providerId="ADAL" clId="{937C214A-A08D-4269-B6D6-ED1059A9A1B7}" dt="2023-08-28T15:54:04.107" v="880" actId="20577"/>
          <ac:spMkLst>
            <pc:docMk/>
            <pc:sldMk cId="3395544189" sldId="271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7:23:56.987" v="1405" actId="1036"/>
          <ac:spMkLst>
            <pc:docMk/>
            <pc:sldMk cId="3395544189" sldId="271"/>
            <ac:spMk id="22" creationId="{25598D7B-0379-4786-88DD-E2C030CFEE98}"/>
          </ac:spMkLst>
        </pc:spChg>
        <pc:spChg chg="mod">
          <ac:chgData name="Suwapatch Euaraksakul (DHL Supply Chain)" userId="015e9e9a-4b13-46b3-965a-6d3b09440de1" providerId="ADAL" clId="{937C214A-A08D-4269-B6D6-ED1059A9A1B7}" dt="2023-08-29T07:23:56.987" v="1405" actId="1036"/>
          <ac:spMkLst>
            <pc:docMk/>
            <pc:sldMk cId="3395544189" sldId="271"/>
            <ac:spMk id="24" creationId="{2E7855BD-17D4-44B8-8D6E-C8539F24102B}"/>
          </ac:spMkLst>
        </pc:spChg>
        <pc:spChg chg="mod">
          <ac:chgData name="Suwapatch Euaraksakul (DHL Supply Chain)" userId="015e9e9a-4b13-46b3-965a-6d3b09440de1" providerId="ADAL" clId="{937C214A-A08D-4269-B6D6-ED1059A9A1B7}" dt="2023-08-28T15:54:40.619" v="881"/>
          <ac:spMkLst>
            <pc:docMk/>
            <pc:sldMk cId="3395544189" sldId="271"/>
            <ac:spMk id="29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7:23:56.987" v="1405" actId="1036"/>
          <ac:spMkLst>
            <pc:docMk/>
            <pc:sldMk cId="3395544189" sldId="271"/>
            <ac:spMk id="36" creationId="{97135521-96A9-4784-B61B-496D7C276B0C}"/>
          </ac:spMkLst>
        </pc:spChg>
        <pc:spChg chg="mod">
          <ac:chgData name="Suwapatch Euaraksakul (DHL Supply Chain)" userId="015e9e9a-4b13-46b3-965a-6d3b09440de1" providerId="ADAL" clId="{937C214A-A08D-4269-B6D6-ED1059A9A1B7}" dt="2023-08-29T04:16:10.434" v="966" actId="14100"/>
          <ac:spMkLst>
            <pc:docMk/>
            <pc:sldMk cId="3395544189" sldId="271"/>
            <ac:spMk id="41" creationId="{CFA2EAED-CAAF-4E83-BCAA-CFE2D9CD31E9}"/>
          </ac:spMkLst>
        </pc:spChg>
        <pc:spChg chg="mod">
          <ac:chgData name="Suwapatch Euaraksakul (DHL Supply Chain)" userId="015e9e9a-4b13-46b3-965a-6d3b09440de1" providerId="ADAL" clId="{937C214A-A08D-4269-B6D6-ED1059A9A1B7}" dt="2023-08-29T07:24:20.464" v="1409" actId="14100"/>
          <ac:spMkLst>
            <pc:docMk/>
            <pc:sldMk cId="3395544189" sldId="271"/>
            <ac:spMk id="43" creationId="{F0C342B7-5D30-4A28-A918-7C8A77C9A07B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3T08:37:10.200" v="281" actId="20577"/>
        <pc:sldMkLst>
          <pc:docMk/>
          <pc:sldMk cId="4194862012" sldId="275"/>
        </pc:sldMkLst>
        <pc:spChg chg="mod">
          <ac:chgData name="Suwapatch Euaraksakul (DHL Supply Chain)" userId="015e9e9a-4b13-46b3-965a-6d3b09440de1" providerId="ADAL" clId="{937C214A-A08D-4269-B6D6-ED1059A9A1B7}" dt="2023-08-23T08:37:10.200" v="281" actId="20577"/>
          <ac:spMkLst>
            <pc:docMk/>
            <pc:sldMk cId="4194862012" sldId="275"/>
            <ac:spMk id="3" creationId="{00000000-0000-0000-0000-000000000000}"/>
          </ac:spMkLst>
        </pc:spChg>
        <pc:spChg chg="add del mod">
          <ac:chgData name="Suwapatch Euaraksakul (DHL Supply Chain)" userId="015e9e9a-4b13-46b3-965a-6d3b09440de1" providerId="ADAL" clId="{937C214A-A08D-4269-B6D6-ED1059A9A1B7}" dt="2023-08-23T08:35:13.117" v="252" actId="478"/>
          <ac:spMkLst>
            <pc:docMk/>
            <pc:sldMk cId="4194862012" sldId="275"/>
            <ac:spMk id="5" creationId="{2B0F7B8B-1689-55F3-A7ED-AC1CE3437769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6T15:49:21.158" v="488"/>
        <pc:sldMkLst>
          <pc:docMk/>
          <pc:sldMk cId="1521521900" sldId="280"/>
        </pc:sldMkLst>
        <pc:spChg chg="mod">
          <ac:chgData name="Suwapatch Euaraksakul (DHL Supply Chain)" userId="015e9e9a-4b13-46b3-965a-6d3b09440de1" providerId="ADAL" clId="{937C214A-A08D-4269-B6D6-ED1059A9A1B7}" dt="2023-08-26T15:49:21.158" v="488"/>
          <ac:spMkLst>
            <pc:docMk/>
            <pc:sldMk cId="1521521900" sldId="280"/>
            <ac:spMk id="3" creationId="{00000000-0000-0000-0000-000000000000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9T05:55:28.657" v="1146" actId="20577"/>
        <pc:sldMkLst>
          <pc:docMk/>
          <pc:sldMk cId="864384667" sldId="302"/>
        </pc:sldMkLst>
        <pc:spChg chg="mod">
          <ac:chgData name="Suwapatch Euaraksakul (DHL Supply Chain)" userId="015e9e9a-4b13-46b3-965a-6d3b09440de1" providerId="ADAL" clId="{937C214A-A08D-4269-B6D6-ED1059A9A1B7}" dt="2023-08-28T15:54:52.516" v="882"/>
          <ac:spMkLst>
            <pc:docMk/>
            <pc:sldMk cId="864384667" sldId="302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5:53:32.451" v="1141" actId="20577"/>
          <ac:spMkLst>
            <pc:docMk/>
            <pc:sldMk cId="864384667" sldId="302"/>
            <ac:spMk id="18" creationId="{7BF30A18-711E-4C52-8335-9FC90123B67D}"/>
          </ac:spMkLst>
        </pc:spChg>
        <pc:spChg chg="mod">
          <ac:chgData name="Suwapatch Euaraksakul (DHL Supply Chain)" userId="015e9e9a-4b13-46b3-965a-6d3b09440de1" providerId="ADAL" clId="{937C214A-A08D-4269-B6D6-ED1059A9A1B7}" dt="2023-08-29T05:55:28.657" v="1146" actId="20577"/>
          <ac:spMkLst>
            <pc:docMk/>
            <pc:sldMk cId="864384667" sldId="302"/>
            <ac:spMk id="19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4:27:13.947" v="1019" actId="20577"/>
          <ac:spMkLst>
            <pc:docMk/>
            <pc:sldMk cId="864384667" sldId="302"/>
            <ac:spMk id="21" creationId="{00000000-0000-0000-0000-000000000000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8T09:06:35.823" v="614" actId="1036"/>
        <pc:sldMkLst>
          <pc:docMk/>
          <pc:sldMk cId="3257270019" sldId="307"/>
        </pc:sldMkLst>
        <pc:spChg chg="mod">
          <ac:chgData name="Suwapatch Euaraksakul (DHL Supply Chain)" userId="015e9e9a-4b13-46b3-965a-6d3b09440de1" providerId="ADAL" clId="{937C214A-A08D-4269-B6D6-ED1059A9A1B7}" dt="2023-08-26T15:48:37.407" v="486" actId="20577"/>
          <ac:spMkLst>
            <pc:docMk/>
            <pc:sldMk cId="3257270019" sldId="307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8:56:02.935" v="580" actId="20577"/>
          <ac:spMkLst>
            <pc:docMk/>
            <pc:sldMk cId="3257270019" sldId="307"/>
            <ac:spMk id="7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06:35.823" v="614" actId="1036"/>
          <ac:spMkLst>
            <pc:docMk/>
            <pc:sldMk cId="3257270019" sldId="307"/>
            <ac:spMk id="8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7:35:43.134" v="551" actId="1035"/>
          <ac:spMkLst>
            <pc:docMk/>
            <pc:sldMk cId="3257270019" sldId="307"/>
            <ac:spMk id="9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04:20.172" v="590" actId="113"/>
          <ac:spMkLst>
            <pc:docMk/>
            <pc:sldMk cId="3257270019" sldId="307"/>
            <ac:spMk id="10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8:24:46.163" v="565" actId="403"/>
          <ac:spMkLst>
            <pc:docMk/>
            <pc:sldMk cId="3257270019" sldId="307"/>
            <ac:spMk id="11" creationId="{7FA83C01-1144-4F5F-BE9D-3BB0A34D8467}"/>
          </ac:spMkLst>
        </pc:spChg>
        <pc:spChg chg="mod">
          <ac:chgData name="Suwapatch Euaraksakul (DHL Supply Chain)" userId="015e9e9a-4b13-46b3-965a-6d3b09440de1" providerId="ADAL" clId="{937C214A-A08D-4269-B6D6-ED1059A9A1B7}" dt="2023-08-28T08:54:37.745" v="577" actId="403"/>
          <ac:spMkLst>
            <pc:docMk/>
            <pc:sldMk cId="3257270019" sldId="307"/>
            <ac:spMk id="13" creationId="{D60EE62E-C563-42AB-83A4-EB0BD1A0D96C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9T06:39:18.148" v="1207" actId="20577"/>
        <pc:sldMkLst>
          <pc:docMk/>
          <pc:sldMk cId="683959019" sldId="315"/>
        </pc:sldMkLst>
        <pc:spChg chg="mod">
          <ac:chgData name="Suwapatch Euaraksakul (DHL Supply Chain)" userId="015e9e9a-4b13-46b3-965a-6d3b09440de1" providerId="ADAL" clId="{937C214A-A08D-4269-B6D6-ED1059A9A1B7}" dt="2023-08-29T06:39:18.148" v="1207" actId="20577"/>
          <ac:spMkLst>
            <pc:docMk/>
            <pc:sldMk cId="683959019" sldId="315"/>
            <ac:spMk id="2" creationId="{00000000-0000-0000-0000-000000000000}"/>
          </ac:spMkLst>
        </pc:spChg>
        <pc:spChg chg="del">
          <ac:chgData name="Suwapatch Euaraksakul (DHL Supply Chain)" userId="015e9e9a-4b13-46b3-965a-6d3b09440de1" providerId="ADAL" clId="{937C214A-A08D-4269-B6D6-ED1059A9A1B7}" dt="2023-08-23T08:41:02.965" v="297" actId="478"/>
          <ac:spMkLst>
            <pc:docMk/>
            <pc:sldMk cId="683959019" sldId="315"/>
            <ac:spMk id="4" creationId="{00000000-0000-0000-0000-000000000000}"/>
          </ac:spMkLst>
        </pc:spChg>
        <pc:spChg chg="add mod">
          <ac:chgData name="Suwapatch Euaraksakul (DHL Supply Chain)" userId="015e9e9a-4b13-46b3-965a-6d3b09440de1" providerId="ADAL" clId="{937C214A-A08D-4269-B6D6-ED1059A9A1B7}" dt="2023-08-24T06:29:41.343" v="303" actId="14100"/>
          <ac:spMkLst>
            <pc:docMk/>
            <pc:sldMk cId="683959019" sldId="315"/>
            <ac:spMk id="5" creationId="{CCFD3BDA-690A-176C-FE1F-A6E0258D5EAE}"/>
          </ac:spMkLst>
        </pc:spChg>
        <pc:spChg chg="mod">
          <ac:chgData name="Suwapatch Euaraksakul (DHL Supply Chain)" userId="015e9e9a-4b13-46b3-965a-6d3b09440de1" providerId="ADAL" clId="{937C214A-A08D-4269-B6D6-ED1059A9A1B7}" dt="2023-08-26T15:45:41.867" v="473" actId="20577"/>
          <ac:spMkLst>
            <pc:docMk/>
            <pc:sldMk cId="683959019" sldId="315"/>
            <ac:spMk id="7" creationId="{00000000-0000-0000-0000-000000000000}"/>
          </ac:spMkLst>
        </pc:spChg>
        <pc:spChg chg="add del mod">
          <ac:chgData name="Suwapatch Euaraksakul (DHL Supply Chain)" userId="015e9e9a-4b13-46b3-965a-6d3b09440de1" providerId="ADAL" clId="{937C214A-A08D-4269-B6D6-ED1059A9A1B7}" dt="2023-08-23T08:41:12.474" v="299" actId="478"/>
          <ac:spMkLst>
            <pc:docMk/>
            <pc:sldMk cId="683959019" sldId="315"/>
            <ac:spMk id="8" creationId="{53BEBDC1-6992-4EA3-960F-E805E35298AB}"/>
          </ac:spMkLst>
        </pc:spChg>
        <pc:spChg chg="mod">
          <ac:chgData name="Suwapatch Euaraksakul (DHL Supply Chain)" userId="015e9e9a-4b13-46b3-965a-6d3b09440de1" providerId="ADAL" clId="{937C214A-A08D-4269-B6D6-ED1059A9A1B7}" dt="2023-08-28T09:06:01.476" v="609" actId="403"/>
          <ac:spMkLst>
            <pc:docMk/>
            <pc:sldMk cId="683959019" sldId="315"/>
            <ac:spMk id="9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06:08.454" v="611" actId="14100"/>
          <ac:spMkLst>
            <pc:docMk/>
            <pc:sldMk cId="683959019" sldId="315"/>
            <ac:spMk id="15" creationId="{54C0C9D2-3D6B-437D-BBBA-91CBC3454374}"/>
          </ac:spMkLst>
        </pc:spChg>
        <pc:spChg chg="mod">
          <ac:chgData name="Suwapatch Euaraksakul (DHL Supply Chain)" userId="015e9e9a-4b13-46b3-965a-6d3b09440de1" providerId="ADAL" clId="{937C214A-A08D-4269-B6D6-ED1059A9A1B7}" dt="2023-08-28T09:06:01.476" v="609" actId="403"/>
          <ac:spMkLst>
            <pc:docMk/>
            <pc:sldMk cId="683959019" sldId="315"/>
            <ac:spMk id="16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06:05.908" v="610" actId="14100"/>
          <ac:spMkLst>
            <pc:docMk/>
            <pc:sldMk cId="683959019" sldId="315"/>
            <ac:spMk id="17" creationId="{3C04372D-B043-4BE9-A572-2B3B135D4964}"/>
          </ac:spMkLst>
        </pc:spChg>
      </pc:sldChg>
      <pc:sldChg chg="addSp modSp mod">
        <pc:chgData name="Suwapatch Euaraksakul (DHL Supply Chain)" userId="015e9e9a-4b13-46b3-965a-6d3b09440de1" providerId="ADAL" clId="{937C214A-A08D-4269-B6D6-ED1059A9A1B7}" dt="2023-08-30T07:53:26.103" v="1439" actId="121"/>
        <pc:sldMkLst>
          <pc:docMk/>
          <pc:sldMk cId="2852957268" sldId="317"/>
        </pc:sldMkLst>
        <pc:spChg chg="mod">
          <ac:chgData name="Suwapatch Euaraksakul (DHL Supply Chain)" userId="015e9e9a-4b13-46b3-965a-6d3b09440de1" providerId="ADAL" clId="{937C214A-A08D-4269-B6D6-ED1059A9A1B7}" dt="2023-08-26T15:42:38.389" v="452" actId="6549"/>
          <ac:spMkLst>
            <pc:docMk/>
            <pc:sldMk cId="2852957268" sldId="317"/>
            <ac:spMk id="2" creationId="{00000000-0000-0000-0000-000000000000}"/>
          </ac:spMkLst>
        </pc:spChg>
        <pc:spChg chg="add mod">
          <ac:chgData name="Suwapatch Euaraksakul (DHL Supply Chain)" userId="015e9e9a-4b13-46b3-965a-6d3b09440de1" providerId="ADAL" clId="{937C214A-A08D-4269-B6D6-ED1059A9A1B7}" dt="2023-08-26T15:38:37.020" v="437" actId="14100"/>
          <ac:spMkLst>
            <pc:docMk/>
            <pc:sldMk cId="2852957268" sldId="317"/>
            <ac:spMk id="4" creationId="{E26CF9CC-CC76-AA34-F1B4-962E23E8DFD8}"/>
          </ac:spMkLst>
        </pc:spChg>
        <pc:spChg chg="mod">
          <ac:chgData name="Suwapatch Euaraksakul (DHL Supply Chain)" userId="015e9e9a-4b13-46b3-965a-6d3b09440de1" providerId="ADAL" clId="{937C214A-A08D-4269-B6D6-ED1059A9A1B7}" dt="2023-08-28T09:05:04.001" v="598" actId="403"/>
          <ac:spMkLst>
            <pc:docMk/>
            <pc:sldMk cId="2852957268" sldId="317"/>
            <ac:spMk id="5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30T07:51:10.857" v="1437"/>
          <ac:spMkLst>
            <pc:docMk/>
            <pc:sldMk cId="2852957268" sldId="317"/>
            <ac:spMk id="6" creationId="{00000000-0000-0000-0000-000000000000}"/>
          </ac:spMkLst>
        </pc:spChg>
        <pc:spChg chg="add mod">
          <ac:chgData name="Suwapatch Euaraksakul (DHL Supply Chain)" userId="015e9e9a-4b13-46b3-965a-6d3b09440de1" providerId="ADAL" clId="{937C214A-A08D-4269-B6D6-ED1059A9A1B7}" dt="2023-08-26T15:39:22.930" v="443" actId="14100"/>
          <ac:spMkLst>
            <pc:docMk/>
            <pc:sldMk cId="2852957268" sldId="317"/>
            <ac:spMk id="8" creationId="{C567ABEA-E3CF-3859-1A39-A0D8A4E587A3}"/>
          </ac:spMkLst>
        </pc:spChg>
        <pc:spChg chg="mod">
          <ac:chgData name="Suwapatch Euaraksakul (DHL Supply Chain)" userId="015e9e9a-4b13-46b3-965a-6d3b09440de1" providerId="ADAL" clId="{937C214A-A08D-4269-B6D6-ED1059A9A1B7}" dt="2023-08-26T15:48:10.399" v="478" actId="20577"/>
          <ac:spMkLst>
            <pc:docMk/>
            <pc:sldMk cId="2852957268" sldId="317"/>
            <ac:spMk id="9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05:04.001" v="598" actId="403"/>
          <ac:spMkLst>
            <pc:docMk/>
            <pc:sldMk cId="2852957268" sldId="317"/>
            <ac:spMk id="10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30T07:53:26.103" v="1439" actId="121"/>
          <ac:spMkLst>
            <pc:docMk/>
            <pc:sldMk cId="2852957268" sldId="317"/>
            <ac:spMk id="12" creationId="{00000000-0000-0000-0000-000000000000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9T06:40:36.779" v="1212" actId="20577"/>
        <pc:sldMkLst>
          <pc:docMk/>
          <pc:sldMk cId="222313868" sldId="324"/>
        </pc:sldMkLst>
        <pc:spChg chg="mod">
          <ac:chgData name="Suwapatch Euaraksakul (DHL Supply Chain)" userId="015e9e9a-4b13-46b3-965a-6d3b09440de1" providerId="ADAL" clId="{937C214A-A08D-4269-B6D6-ED1059A9A1B7}" dt="2023-08-29T06:40:36.779" v="1212" actId="20577"/>
          <ac:spMkLst>
            <pc:docMk/>
            <pc:sldMk cId="222313868" sldId="324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20:49.383" v="632" actId="20577"/>
          <ac:spMkLst>
            <pc:docMk/>
            <pc:sldMk cId="222313868" sldId="324"/>
            <ac:spMk id="9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15:25:39.816" v="717" actId="20577"/>
          <ac:spMkLst>
            <pc:docMk/>
            <pc:sldMk cId="222313868" sldId="324"/>
            <ac:spMk id="11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15:25:50.075" v="719"/>
          <ac:spMkLst>
            <pc:docMk/>
            <pc:sldMk cId="222313868" sldId="324"/>
            <ac:spMk id="1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33:37.770" v="650" actId="14100"/>
          <ac:spMkLst>
            <pc:docMk/>
            <pc:sldMk cId="222313868" sldId="324"/>
            <ac:spMk id="13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09:33:31.329" v="647" actId="14100"/>
          <ac:spMkLst>
            <pc:docMk/>
            <pc:sldMk cId="222313868" sldId="324"/>
            <ac:spMk id="15" creationId="{00000000-0000-0000-0000-000000000000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9T06:42:51.675" v="1215" actId="14100"/>
        <pc:sldMkLst>
          <pc:docMk/>
          <pc:sldMk cId="2369046902" sldId="329"/>
        </pc:sldMkLst>
        <pc:spChg chg="mod">
          <ac:chgData name="Suwapatch Euaraksakul (DHL Supply Chain)" userId="015e9e9a-4b13-46b3-965a-6d3b09440de1" providerId="ADAL" clId="{937C214A-A08D-4269-B6D6-ED1059A9A1B7}" dt="2023-08-26T15:49:58.520" v="494"/>
          <ac:spMkLst>
            <pc:docMk/>
            <pc:sldMk cId="2369046902" sldId="329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6:42:51.675" v="1215" actId="14100"/>
          <ac:spMkLst>
            <pc:docMk/>
            <pc:sldMk cId="2369046902" sldId="329"/>
            <ac:spMk id="4" creationId="{00000000-0000-0000-0000-000000000000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30T08:56:47.855" v="1443" actId="20577"/>
        <pc:sldMkLst>
          <pc:docMk/>
          <pc:sldMk cId="1124148590" sldId="333"/>
        </pc:sldMkLst>
        <pc:spChg chg="mod">
          <ac:chgData name="Suwapatch Euaraksakul (DHL Supply Chain)" userId="015e9e9a-4b13-46b3-965a-6d3b09440de1" providerId="ADAL" clId="{937C214A-A08D-4269-B6D6-ED1059A9A1B7}" dt="2023-08-30T08:56:47.855" v="1443" actId="20577"/>
          <ac:spMkLst>
            <pc:docMk/>
            <pc:sldMk cId="1124148590" sldId="333"/>
            <ac:spMk id="2" creationId="{00000000-0000-0000-0000-000000000000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47:49.630" v="810"/>
          <ac:spMkLst>
            <pc:docMk/>
            <pc:sldMk cId="1124148590" sldId="333"/>
            <ac:spMk id="3" creationId="{343777AF-8BE9-0FDD-B913-0A4A680545BB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47:49.630" v="810"/>
          <ac:spMkLst>
            <pc:docMk/>
            <pc:sldMk cId="1124148590" sldId="333"/>
            <ac:spMk id="5" creationId="{25ACC8B0-DA5E-0FEA-41E4-032DB6529015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47:55.409" v="816"/>
          <ac:spMkLst>
            <pc:docMk/>
            <pc:sldMk cId="1124148590" sldId="333"/>
            <ac:spMk id="6" creationId="{6A9D8D10-89E5-33B9-5F39-61C575ACC099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47:55.409" v="816"/>
          <ac:spMkLst>
            <pc:docMk/>
            <pc:sldMk cId="1124148590" sldId="333"/>
            <ac:spMk id="7" creationId="{33D8E7C2-C665-DD36-5BDB-21D967200BAA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48:05.694" v="819"/>
          <ac:spMkLst>
            <pc:docMk/>
            <pc:sldMk cId="1124148590" sldId="333"/>
            <ac:spMk id="8" creationId="{67C4EA53-6FFE-E730-2EEF-C34F6E2817CE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48:05.694" v="819"/>
          <ac:spMkLst>
            <pc:docMk/>
            <pc:sldMk cId="1124148590" sldId="333"/>
            <ac:spMk id="11" creationId="{B4C15F0D-EFB1-842D-9AFE-09BA577D243D}"/>
          </ac:spMkLst>
        </pc:spChg>
        <pc:spChg chg="mod">
          <ac:chgData name="Suwapatch Euaraksakul (DHL Supply Chain)" userId="015e9e9a-4b13-46b3-965a-6d3b09440de1" providerId="ADAL" clId="{937C214A-A08D-4269-B6D6-ED1059A9A1B7}" dt="2023-08-29T04:12:17.645" v="953" actId="5793"/>
          <ac:spMkLst>
            <pc:docMk/>
            <pc:sldMk cId="1124148590" sldId="333"/>
            <ac:spMk id="18" creationId="{00000000-0000-0000-0000-000000000000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9T13:19:02.370" v="1428" actId="20577"/>
        <pc:sldMkLst>
          <pc:docMk/>
          <pc:sldMk cId="2982835251" sldId="346"/>
        </pc:sldMkLst>
        <pc:spChg chg="mod">
          <ac:chgData name="Suwapatch Euaraksakul (DHL Supply Chain)" userId="015e9e9a-4b13-46b3-965a-6d3b09440de1" providerId="ADAL" clId="{937C214A-A08D-4269-B6D6-ED1059A9A1B7}" dt="2023-08-29T06:44:28.583" v="1219" actId="20577"/>
          <ac:spMkLst>
            <pc:docMk/>
            <pc:sldMk cId="2982835251" sldId="346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13:19:02.370" v="1428" actId="20577"/>
          <ac:spMkLst>
            <pc:docMk/>
            <pc:sldMk cId="2982835251" sldId="346"/>
            <ac:spMk id="9" creationId="{7D7C7F10-9653-64A9-19AA-80B469D8EA0B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9T06:21:36.559" v="1197" actId="2711"/>
        <pc:sldMkLst>
          <pc:docMk/>
          <pc:sldMk cId="2454080726" sldId="359"/>
        </pc:sldMkLst>
        <pc:spChg chg="mod">
          <ac:chgData name="Suwapatch Euaraksakul (DHL Supply Chain)" userId="015e9e9a-4b13-46b3-965a-6d3b09440de1" providerId="ADAL" clId="{937C214A-A08D-4269-B6D6-ED1059A9A1B7}" dt="2023-08-29T06:21:36.195" v="1196" actId="2711"/>
          <ac:spMkLst>
            <pc:docMk/>
            <pc:sldMk cId="2454080726" sldId="359"/>
            <ac:spMk id="2" creationId="{BE7F2E57-1078-4CD8-823C-F1BE9ED38EEE}"/>
          </ac:spMkLst>
        </pc:spChg>
        <pc:spChg chg="del">
          <ac:chgData name="Suwapatch Euaraksakul (DHL Supply Chain)" userId="015e9e9a-4b13-46b3-965a-6d3b09440de1" providerId="ADAL" clId="{937C214A-A08D-4269-B6D6-ED1059A9A1B7}" dt="2023-08-23T07:53:28.205" v="95" actId="478"/>
          <ac:spMkLst>
            <pc:docMk/>
            <pc:sldMk cId="2454080726" sldId="359"/>
            <ac:spMk id="4" creationId="{468AFC59-78A8-300F-9062-47481AEE5ABD}"/>
          </ac:spMkLst>
        </pc:spChg>
        <pc:spChg chg="add mod">
          <ac:chgData name="Suwapatch Euaraksakul (DHL Supply Chain)" userId="015e9e9a-4b13-46b3-965a-6d3b09440de1" providerId="ADAL" clId="{937C214A-A08D-4269-B6D6-ED1059A9A1B7}" dt="2023-08-29T06:21:36.559" v="1197" actId="2711"/>
          <ac:spMkLst>
            <pc:docMk/>
            <pc:sldMk cId="2454080726" sldId="359"/>
            <ac:spMk id="6" creationId="{5691C4B2-D6C9-4193-EDAB-932621B20F35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9T07:23:35.246" v="1403" actId="1076"/>
        <pc:sldMkLst>
          <pc:docMk/>
          <pc:sldMk cId="1140033270" sldId="362"/>
        </pc:sldMkLst>
        <pc:spChg chg="add del mod">
          <ac:chgData name="Suwapatch Euaraksakul (DHL Supply Chain)" userId="015e9e9a-4b13-46b3-965a-6d3b09440de1" providerId="ADAL" clId="{937C214A-A08D-4269-B6D6-ED1059A9A1B7}" dt="2023-08-28T15:37:02.927" v="764"/>
          <ac:spMkLst>
            <pc:docMk/>
            <pc:sldMk cId="1140033270" sldId="362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7:23:35.246" v="1403" actId="1076"/>
          <ac:spMkLst>
            <pc:docMk/>
            <pc:sldMk cId="1140033270" sldId="362"/>
            <ac:spMk id="8" creationId="{F3BB501F-576F-B450-3B06-2CE502249582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36:54.760" v="763" actId="478"/>
          <ac:spMkLst>
            <pc:docMk/>
            <pc:sldMk cId="1140033270" sldId="362"/>
            <ac:spMk id="9" creationId="{87A56A56-F326-82D4-AF25-93E9C6AFD24D}"/>
          </ac:spMkLst>
        </pc:spChg>
        <pc:spChg chg="mod">
          <ac:chgData name="Suwapatch Euaraksakul (DHL Supply Chain)" userId="015e9e9a-4b13-46b3-965a-6d3b09440de1" providerId="ADAL" clId="{937C214A-A08D-4269-B6D6-ED1059A9A1B7}" dt="2023-08-29T07:23:31.745" v="1402" actId="403"/>
          <ac:spMkLst>
            <pc:docMk/>
            <pc:sldMk cId="1140033270" sldId="362"/>
            <ac:spMk id="10" creationId="{A1F85C50-6041-4C58-B627-F9DD8000BA0D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36:53.267" v="762"/>
          <ac:spMkLst>
            <pc:docMk/>
            <pc:sldMk cId="1140033270" sldId="362"/>
            <ac:spMk id="12" creationId="{C434C09F-0E68-3B83-C73E-3602B7322769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9T17:26:41.471" v="1435" actId="20577"/>
        <pc:sldMkLst>
          <pc:docMk/>
          <pc:sldMk cId="845503394" sldId="371"/>
        </pc:sldMkLst>
        <pc:spChg chg="mod">
          <ac:chgData name="Suwapatch Euaraksakul (DHL Supply Chain)" userId="015e9e9a-4b13-46b3-965a-6d3b09440de1" providerId="ADAL" clId="{937C214A-A08D-4269-B6D6-ED1059A9A1B7}" dt="2023-08-24T07:06:47.989" v="321" actId="5793"/>
          <ac:spMkLst>
            <pc:docMk/>
            <pc:sldMk cId="845503394" sldId="371"/>
            <ac:spMk id="2" creationId="{00000000-0000-0000-0000-000000000000}"/>
          </ac:spMkLst>
        </pc:spChg>
        <pc:spChg chg="add del">
          <ac:chgData name="Suwapatch Euaraksakul (DHL Supply Chain)" userId="015e9e9a-4b13-46b3-965a-6d3b09440de1" providerId="ADAL" clId="{937C214A-A08D-4269-B6D6-ED1059A9A1B7}" dt="2023-08-24T07:10:33.649" v="342"/>
          <ac:spMkLst>
            <pc:docMk/>
            <pc:sldMk cId="845503394" sldId="371"/>
            <ac:spMk id="3" creationId="{9158A547-FC37-496F-2BFC-7D96340A498C}"/>
          </ac:spMkLst>
        </pc:spChg>
        <pc:spChg chg="add del">
          <ac:chgData name="Suwapatch Euaraksakul (DHL Supply Chain)" userId="015e9e9a-4b13-46b3-965a-6d3b09440de1" providerId="ADAL" clId="{937C214A-A08D-4269-B6D6-ED1059A9A1B7}" dt="2023-08-24T07:10:35.781" v="344"/>
          <ac:spMkLst>
            <pc:docMk/>
            <pc:sldMk cId="845503394" sldId="371"/>
            <ac:spMk id="5" creationId="{477F050F-2732-85D8-F4A5-9B6E4BC54EA2}"/>
          </ac:spMkLst>
        </pc:spChg>
        <pc:spChg chg="mod">
          <ac:chgData name="Suwapatch Euaraksakul (DHL Supply Chain)" userId="015e9e9a-4b13-46b3-965a-6d3b09440de1" providerId="ADAL" clId="{937C214A-A08D-4269-B6D6-ED1059A9A1B7}" dt="2023-08-28T09:05:33.359" v="604" actId="403"/>
          <ac:spMkLst>
            <pc:docMk/>
            <pc:sldMk cId="845503394" sldId="371"/>
            <ac:spMk id="30" creationId="{FF23DB70-6622-47E3-A27C-387CEE7BEF5C}"/>
          </ac:spMkLst>
        </pc:spChg>
        <pc:spChg chg="mod">
          <ac:chgData name="Suwapatch Euaraksakul (DHL Supply Chain)" userId="015e9e9a-4b13-46b3-965a-6d3b09440de1" providerId="ADAL" clId="{937C214A-A08D-4269-B6D6-ED1059A9A1B7}" dt="2023-08-28T09:05:33.359" v="604" actId="403"/>
          <ac:spMkLst>
            <pc:docMk/>
            <pc:sldMk cId="845503394" sldId="371"/>
            <ac:spMk id="31" creationId="{5E6A437C-FAD8-4493-A924-3400A1E2529C}"/>
          </ac:spMkLst>
        </pc:spChg>
        <pc:spChg chg="mod">
          <ac:chgData name="Suwapatch Euaraksakul (DHL Supply Chain)" userId="015e9e9a-4b13-46b3-965a-6d3b09440de1" providerId="ADAL" clId="{937C214A-A08D-4269-B6D6-ED1059A9A1B7}" dt="2023-08-29T17:26:41.471" v="1435" actId="20577"/>
          <ac:spMkLst>
            <pc:docMk/>
            <pc:sldMk cId="845503394" sldId="371"/>
            <ac:spMk id="32" creationId="{991AAC7A-FC64-41C3-99F1-61E09399C1AA}"/>
          </ac:spMkLst>
        </pc:spChg>
        <pc:spChg chg="mod">
          <ac:chgData name="Suwapatch Euaraksakul (DHL Supply Chain)" userId="015e9e9a-4b13-46b3-965a-6d3b09440de1" providerId="ADAL" clId="{937C214A-A08D-4269-B6D6-ED1059A9A1B7}" dt="2023-08-28T09:05:46.859" v="607" actId="14100"/>
          <ac:spMkLst>
            <pc:docMk/>
            <pc:sldMk cId="845503394" sldId="371"/>
            <ac:spMk id="37" creationId="{16BFCC92-CEE8-4904-80ED-8001EE44B5E7}"/>
          </ac:spMkLst>
        </pc:spChg>
      </pc:sldChg>
      <pc:sldChg chg="addSp delSp modSp mod ord">
        <pc:chgData name="Suwapatch Euaraksakul (DHL Supply Chain)" userId="015e9e9a-4b13-46b3-965a-6d3b09440de1" providerId="ADAL" clId="{937C214A-A08D-4269-B6D6-ED1059A9A1B7}" dt="2023-08-29T05:44:04.222" v="1095"/>
        <pc:sldMkLst>
          <pc:docMk/>
          <pc:sldMk cId="1022968388" sldId="372"/>
        </pc:sldMkLst>
        <pc:spChg chg="mod">
          <ac:chgData name="Suwapatch Euaraksakul (DHL Supply Chain)" userId="015e9e9a-4b13-46b3-965a-6d3b09440de1" providerId="ADAL" clId="{937C214A-A08D-4269-B6D6-ED1059A9A1B7}" dt="2023-08-28T09:39:21.094" v="680" actId="20577"/>
          <ac:spMkLst>
            <pc:docMk/>
            <pc:sldMk cId="1022968388" sldId="372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9T05:38:40.015" v="1077" actId="20577"/>
          <ac:spMkLst>
            <pc:docMk/>
            <pc:sldMk cId="1022968388" sldId="372"/>
            <ac:spMk id="4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15:30:45.556" v="742" actId="20577"/>
          <ac:spMkLst>
            <pc:docMk/>
            <pc:sldMk cId="1022968388" sldId="372"/>
            <ac:spMk id="5" creationId="{DEFB68C6-4432-F9B6-423B-9929416A34CC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1:42.144" v="688"/>
          <ac:spMkLst>
            <pc:docMk/>
            <pc:sldMk cId="1022968388" sldId="372"/>
            <ac:spMk id="7" creationId="{F18A75C3-15F1-C391-E9E8-5FB3B61E0770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1:42.144" v="688"/>
          <ac:spMkLst>
            <pc:docMk/>
            <pc:sldMk cId="1022968388" sldId="372"/>
            <ac:spMk id="9" creationId="{031600E3-CDF2-D429-23F4-C705D9899785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1:41.443" v="687"/>
          <ac:spMkLst>
            <pc:docMk/>
            <pc:sldMk cId="1022968388" sldId="372"/>
            <ac:spMk id="10" creationId="{332BEBF7-0000-5E4C-52F9-9144610B3C02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1:41.443" v="687"/>
          <ac:spMkLst>
            <pc:docMk/>
            <pc:sldMk cId="1022968388" sldId="372"/>
            <ac:spMk id="11" creationId="{C25B5CA9-2633-9ACD-A9A5-F0E36276D633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1:46.335" v="691"/>
          <ac:spMkLst>
            <pc:docMk/>
            <pc:sldMk cId="1022968388" sldId="372"/>
            <ac:spMk id="12" creationId="{20600BE9-EF94-2E61-E3C2-9A66336EF1C5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1:46.335" v="691"/>
          <ac:spMkLst>
            <pc:docMk/>
            <pc:sldMk cId="1022968388" sldId="372"/>
            <ac:spMk id="13" creationId="{9720D7C5-E641-62FA-18C0-D4B6D372156C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2:09.337" v="696"/>
          <ac:spMkLst>
            <pc:docMk/>
            <pc:sldMk cId="1022968388" sldId="372"/>
            <ac:spMk id="14" creationId="{69A3E9C2-CD18-6BAF-0F39-C9704AF260B2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2:09.337" v="696"/>
          <ac:spMkLst>
            <pc:docMk/>
            <pc:sldMk cId="1022968388" sldId="372"/>
            <ac:spMk id="15" creationId="{6B1F3EBE-8557-E1C4-D9F2-95B97A330852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2:30.709" v="701"/>
          <ac:spMkLst>
            <pc:docMk/>
            <pc:sldMk cId="1022968388" sldId="372"/>
            <ac:spMk id="16" creationId="{D12BA7F7-8C4F-752C-50BC-9D4BDDA45F49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2:30.709" v="701"/>
          <ac:spMkLst>
            <pc:docMk/>
            <pc:sldMk cId="1022968388" sldId="372"/>
            <ac:spMk id="17" creationId="{D0CB4926-8B03-D77D-CBB4-544D30D4D46C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2:35.030" v="703"/>
          <ac:spMkLst>
            <pc:docMk/>
            <pc:sldMk cId="1022968388" sldId="372"/>
            <ac:spMk id="18" creationId="{2B8F4E37-6F24-ED82-41C6-4EF49D798AEB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15:22:35.030" v="703"/>
          <ac:spMkLst>
            <pc:docMk/>
            <pc:sldMk cId="1022968388" sldId="372"/>
            <ac:spMk id="19" creationId="{F67E5C36-81ED-21F0-6B82-6D0B3FEF61F6}"/>
          </ac:spMkLst>
        </pc:spChg>
        <pc:picChg chg="mod">
          <ac:chgData name="Suwapatch Euaraksakul (DHL Supply Chain)" userId="015e9e9a-4b13-46b3-965a-6d3b09440de1" providerId="ADAL" clId="{937C214A-A08D-4269-B6D6-ED1059A9A1B7}" dt="2023-08-28T15:23:11.327" v="715" actId="1076"/>
          <ac:picMkLst>
            <pc:docMk/>
            <pc:sldMk cId="1022968388" sldId="372"/>
            <ac:picMk id="8" creationId="{7F42E413-BB27-B71E-80F6-8D1ADB4D73EF}"/>
          </ac:picMkLst>
        </pc:picChg>
      </pc:sldChg>
      <pc:sldChg chg="modSp mod">
        <pc:chgData name="Suwapatch Euaraksakul (DHL Supply Chain)" userId="015e9e9a-4b13-46b3-965a-6d3b09440de1" providerId="ADAL" clId="{937C214A-A08D-4269-B6D6-ED1059A9A1B7}" dt="2023-08-30T07:03:04.853" v="1436" actId="20578"/>
        <pc:sldMkLst>
          <pc:docMk/>
          <pc:sldMk cId="1673867915" sldId="373"/>
        </pc:sldMkLst>
        <pc:spChg chg="mod">
          <ac:chgData name="Suwapatch Euaraksakul (DHL Supply Chain)" userId="015e9e9a-4b13-46b3-965a-6d3b09440de1" providerId="ADAL" clId="{937C214A-A08D-4269-B6D6-ED1059A9A1B7}" dt="2023-08-26T15:50:52.499" v="499"/>
          <ac:spMkLst>
            <pc:docMk/>
            <pc:sldMk cId="1673867915" sldId="373"/>
            <ac:spMk id="3" creationId="{1E058A39-10DB-43CD-8030-3AE5B4BE7E86}"/>
          </ac:spMkLst>
        </pc:spChg>
        <pc:spChg chg="mod">
          <ac:chgData name="Suwapatch Euaraksakul (DHL Supply Chain)" userId="015e9e9a-4b13-46b3-965a-6d3b09440de1" providerId="ADAL" clId="{937C214A-A08D-4269-B6D6-ED1059A9A1B7}" dt="2023-08-30T07:03:04.853" v="1436" actId="20578"/>
          <ac:spMkLst>
            <pc:docMk/>
            <pc:sldMk cId="1673867915" sldId="373"/>
            <ac:spMk id="8" creationId="{9F496933-A545-424A-B1D5-D49D41CEB3B9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9T16:50:06.897" v="1430" actId="20578"/>
        <pc:sldMkLst>
          <pc:docMk/>
          <pc:sldMk cId="589304412" sldId="376"/>
        </pc:sldMkLst>
        <pc:spChg chg="mod">
          <ac:chgData name="Suwapatch Euaraksakul (DHL Supply Chain)" userId="015e9e9a-4b13-46b3-965a-6d3b09440de1" providerId="ADAL" clId="{937C214A-A08D-4269-B6D6-ED1059A9A1B7}" dt="2023-08-23T08:36:43.084" v="277" actId="6549"/>
          <ac:spMkLst>
            <pc:docMk/>
            <pc:sldMk cId="589304412" sldId="376"/>
            <ac:spMk id="2" creationId="{36ED079E-C14E-3DF2-F622-ABC4C47666BF}"/>
          </ac:spMkLst>
        </pc:spChg>
        <pc:spChg chg="mod">
          <ac:chgData name="Suwapatch Euaraksakul (DHL Supply Chain)" userId="015e9e9a-4b13-46b3-965a-6d3b09440de1" providerId="ADAL" clId="{937C214A-A08D-4269-B6D6-ED1059A9A1B7}" dt="2023-08-29T16:50:06.897" v="1430" actId="20578"/>
          <ac:spMkLst>
            <pc:docMk/>
            <pc:sldMk cId="589304412" sldId="376"/>
            <ac:spMk id="4" creationId="{3A5938B6-08B6-9B9C-82CB-D8704F58F6A5}"/>
          </ac:spMkLst>
        </pc:spChg>
        <pc:spChg chg="mod">
          <ac:chgData name="Suwapatch Euaraksakul (DHL Supply Chain)" userId="015e9e9a-4b13-46b3-965a-6d3b09440de1" providerId="ADAL" clId="{937C214A-A08D-4269-B6D6-ED1059A9A1B7}" dt="2023-08-29T06:48:00.939" v="1282" actId="1038"/>
          <ac:spMkLst>
            <pc:docMk/>
            <pc:sldMk cId="589304412" sldId="376"/>
            <ac:spMk id="5" creationId="{E6C92D75-5CE3-C570-6A5C-431EA9C4AF8B}"/>
          </ac:spMkLst>
        </pc:spChg>
        <pc:spChg chg="mod">
          <ac:chgData name="Suwapatch Euaraksakul (DHL Supply Chain)" userId="015e9e9a-4b13-46b3-965a-6d3b09440de1" providerId="ADAL" clId="{937C214A-A08D-4269-B6D6-ED1059A9A1B7}" dt="2023-08-29T06:48:27.097" v="1291" actId="1038"/>
          <ac:spMkLst>
            <pc:docMk/>
            <pc:sldMk cId="589304412" sldId="376"/>
            <ac:spMk id="7" creationId="{8FAC26AA-2A75-DE9D-B1A1-FED751267D74}"/>
          </ac:spMkLst>
        </pc:spChg>
        <pc:spChg chg="mod">
          <ac:chgData name="Suwapatch Euaraksakul (DHL Supply Chain)" userId="015e9e9a-4b13-46b3-965a-6d3b09440de1" providerId="ADAL" clId="{937C214A-A08D-4269-B6D6-ED1059A9A1B7}" dt="2023-08-29T06:48:49.708" v="1306" actId="1038"/>
          <ac:spMkLst>
            <pc:docMk/>
            <pc:sldMk cId="589304412" sldId="376"/>
            <ac:spMk id="8" creationId="{609B893D-0CEB-4BCC-FF92-BA75EE3B9F07}"/>
          </ac:spMkLst>
        </pc:spChg>
        <pc:spChg chg="mod">
          <ac:chgData name="Suwapatch Euaraksakul (DHL Supply Chain)" userId="015e9e9a-4b13-46b3-965a-6d3b09440de1" providerId="ADAL" clId="{937C214A-A08D-4269-B6D6-ED1059A9A1B7}" dt="2023-08-29T06:48:35.328" v="1298" actId="1036"/>
          <ac:spMkLst>
            <pc:docMk/>
            <pc:sldMk cId="589304412" sldId="376"/>
            <ac:spMk id="9" creationId="{C1CF6A05-0E9E-4A30-5AF0-E7A6A0056861}"/>
          </ac:spMkLst>
        </pc:spChg>
        <pc:spChg chg="mod">
          <ac:chgData name="Suwapatch Euaraksakul (DHL Supply Chain)" userId="015e9e9a-4b13-46b3-965a-6d3b09440de1" providerId="ADAL" clId="{937C214A-A08D-4269-B6D6-ED1059A9A1B7}" dt="2023-08-29T06:49:01.412" v="1310" actId="1036"/>
          <ac:spMkLst>
            <pc:docMk/>
            <pc:sldMk cId="589304412" sldId="376"/>
            <ac:spMk id="10" creationId="{FCC4EAB2-5351-1809-A170-0BFB48074AB5}"/>
          </ac:spMkLst>
        </pc:spChg>
        <pc:spChg chg="mod">
          <ac:chgData name="Suwapatch Euaraksakul (DHL Supply Chain)" userId="015e9e9a-4b13-46b3-965a-6d3b09440de1" providerId="ADAL" clId="{937C214A-A08D-4269-B6D6-ED1059A9A1B7}" dt="2023-08-29T06:47:05.150" v="1263" actId="1035"/>
          <ac:spMkLst>
            <pc:docMk/>
            <pc:sldMk cId="589304412" sldId="376"/>
            <ac:spMk id="11" creationId="{49D90253-737C-0C10-FE5F-0BD929B8F17F}"/>
          </ac:spMkLst>
        </pc:spChg>
        <pc:spChg chg="del">
          <ac:chgData name="Suwapatch Euaraksakul (DHL Supply Chain)" userId="015e9e9a-4b13-46b3-965a-6d3b09440de1" providerId="ADAL" clId="{937C214A-A08D-4269-B6D6-ED1059A9A1B7}" dt="2023-08-29T06:47:14.795" v="1265" actId="478"/>
          <ac:spMkLst>
            <pc:docMk/>
            <pc:sldMk cId="589304412" sldId="376"/>
            <ac:spMk id="12" creationId="{9D850587-434E-8DB3-F719-BD80075B07EC}"/>
          </ac:spMkLst>
        </pc:spChg>
        <pc:spChg chg="mod">
          <ac:chgData name="Suwapatch Euaraksakul (DHL Supply Chain)" userId="015e9e9a-4b13-46b3-965a-6d3b09440de1" providerId="ADAL" clId="{937C214A-A08D-4269-B6D6-ED1059A9A1B7}" dt="2023-08-29T06:47:09.166" v="1264" actId="1076"/>
          <ac:spMkLst>
            <pc:docMk/>
            <pc:sldMk cId="589304412" sldId="376"/>
            <ac:spMk id="13" creationId="{2226208B-9816-9C9E-79D0-96B2E6A68C55}"/>
          </ac:spMkLst>
        </pc:spChg>
        <pc:spChg chg="del">
          <ac:chgData name="Suwapatch Euaraksakul (DHL Supply Chain)" userId="015e9e9a-4b13-46b3-965a-6d3b09440de1" providerId="ADAL" clId="{937C214A-A08D-4269-B6D6-ED1059A9A1B7}" dt="2023-08-29T06:47:18.454" v="1266" actId="478"/>
          <ac:spMkLst>
            <pc:docMk/>
            <pc:sldMk cId="589304412" sldId="376"/>
            <ac:spMk id="14" creationId="{6E115B51-7EAD-E950-ABD5-2C6901882E36}"/>
          </ac:spMkLst>
        </pc:spChg>
        <pc:spChg chg="add mod">
          <ac:chgData name="Suwapatch Euaraksakul (DHL Supply Chain)" userId="015e9e9a-4b13-46b3-965a-6d3b09440de1" providerId="ADAL" clId="{937C214A-A08D-4269-B6D6-ED1059A9A1B7}" dt="2023-08-29T06:47:30.547" v="1274" actId="1037"/>
          <ac:spMkLst>
            <pc:docMk/>
            <pc:sldMk cId="589304412" sldId="376"/>
            <ac:spMk id="15" creationId="{E47127E0-885A-9813-334F-C9C62CCC91E8}"/>
          </ac:spMkLst>
        </pc:spChg>
        <pc:spChg chg="add mod">
          <ac:chgData name="Suwapatch Euaraksakul (DHL Supply Chain)" userId="015e9e9a-4b13-46b3-965a-6d3b09440de1" providerId="ADAL" clId="{937C214A-A08D-4269-B6D6-ED1059A9A1B7}" dt="2023-08-29T06:47:30.547" v="1274" actId="1037"/>
          <ac:spMkLst>
            <pc:docMk/>
            <pc:sldMk cId="589304412" sldId="376"/>
            <ac:spMk id="16" creationId="{5299B7EA-3A68-F318-7AF4-75FC30317CD6}"/>
          </ac:spMkLst>
        </pc:spChg>
      </pc:sldChg>
      <pc:sldChg chg="addSp delSp modSp mod">
        <pc:chgData name="Suwapatch Euaraksakul (DHL Supply Chain)" userId="015e9e9a-4b13-46b3-965a-6d3b09440de1" providerId="ADAL" clId="{937C214A-A08D-4269-B6D6-ED1059A9A1B7}" dt="2023-08-28T09:35:59.215" v="673" actId="14100"/>
        <pc:sldMkLst>
          <pc:docMk/>
          <pc:sldMk cId="2681179662" sldId="377"/>
        </pc:sldMkLst>
        <pc:spChg chg="mod">
          <ac:chgData name="Suwapatch Euaraksakul (DHL Supply Chain)" userId="015e9e9a-4b13-46b3-965a-6d3b09440de1" providerId="ADAL" clId="{937C214A-A08D-4269-B6D6-ED1059A9A1B7}" dt="2023-08-28T09:35:07.814" v="667" actId="20577"/>
          <ac:spMkLst>
            <pc:docMk/>
            <pc:sldMk cId="2681179662" sldId="377"/>
            <ac:spMk id="2" creationId="{00000000-0000-0000-0000-000000000000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09:35:38.886" v="669"/>
          <ac:spMkLst>
            <pc:docMk/>
            <pc:sldMk cId="2681179662" sldId="377"/>
            <ac:spMk id="4" creationId="{B4CAE3AB-4D5B-5FDA-B789-90CB126165E2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09:35:38.886" v="669"/>
          <ac:spMkLst>
            <pc:docMk/>
            <pc:sldMk cId="2681179662" sldId="377"/>
            <ac:spMk id="5" creationId="{DE4AAD83-E839-68B4-C662-C26E4BEAEC07}"/>
          </ac:spMkLst>
        </pc:spChg>
        <pc:spChg chg="mod">
          <ac:chgData name="Suwapatch Euaraksakul (DHL Supply Chain)" userId="015e9e9a-4b13-46b3-965a-6d3b09440de1" providerId="ADAL" clId="{937C214A-A08D-4269-B6D6-ED1059A9A1B7}" dt="2023-08-28T09:35:59.215" v="673" actId="14100"/>
          <ac:spMkLst>
            <pc:docMk/>
            <pc:sldMk cId="2681179662" sldId="377"/>
            <ac:spMk id="7" creationId="{B685B32C-0F54-4494-61AD-834B250AA792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09:35:38.886" v="669"/>
          <ac:spMkLst>
            <pc:docMk/>
            <pc:sldMk cId="2681179662" sldId="377"/>
            <ac:spMk id="8" creationId="{15ABCB02-CD34-08E6-D4EE-43CBDD8EAEA5}"/>
          </ac:spMkLst>
        </pc:spChg>
        <pc:spChg chg="add del mod">
          <ac:chgData name="Suwapatch Euaraksakul (DHL Supply Chain)" userId="015e9e9a-4b13-46b3-965a-6d3b09440de1" providerId="ADAL" clId="{937C214A-A08D-4269-B6D6-ED1059A9A1B7}" dt="2023-08-28T09:35:38.886" v="669"/>
          <ac:spMkLst>
            <pc:docMk/>
            <pc:sldMk cId="2681179662" sldId="377"/>
            <ac:spMk id="9" creationId="{95BCF28F-C1B3-B815-66E1-50D5DF13178C}"/>
          </ac:spMkLst>
        </pc:spChg>
      </pc:sldChg>
      <pc:sldChg chg="modSp mod">
        <pc:chgData name="Suwapatch Euaraksakul (DHL Supply Chain)" userId="015e9e9a-4b13-46b3-965a-6d3b09440de1" providerId="ADAL" clId="{937C214A-A08D-4269-B6D6-ED1059A9A1B7}" dt="2023-08-29T05:38:51.711" v="1079" actId="14100"/>
        <pc:sldMkLst>
          <pc:docMk/>
          <pc:sldMk cId="1593161580" sldId="378"/>
        </pc:sldMkLst>
        <pc:spChg chg="mod">
          <ac:chgData name="Suwapatch Euaraksakul (DHL Supply Chain)" userId="015e9e9a-4b13-46b3-965a-6d3b09440de1" providerId="ADAL" clId="{937C214A-A08D-4269-B6D6-ED1059A9A1B7}" dt="2023-08-28T12:04:56.533" v="684" actId="20577"/>
          <ac:spMkLst>
            <pc:docMk/>
            <pc:sldMk cId="1593161580" sldId="378"/>
            <ac:spMk id="2" creationId="{00000000-0000-0000-0000-000000000000}"/>
          </ac:spMkLst>
        </pc:spChg>
        <pc:spChg chg="mod">
          <ac:chgData name="Suwapatch Euaraksakul (DHL Supply Chain)" userId="015e9e9a-4b13-46b3-965a-6d3b09440de1" providerId="ADAL" clId="{937C214A-A08D-4269-B6D6-ED1059A9A1B7}" dt="2023-08-28T15:31:41.248" v="743"/>
          <ac:spMkLst>
            <pc:docMk/>
            <pc:sldMk cId="1593161580" sldId="378"/>
            <ac:spMk id="15" creationId="{813B28D1-2E6E-84FB-9452-7DD47E327F42}"/>
          </ac:spMkLst>
        </pc:spChg>
        <pc:spChg chg="mod">
          <ac:chgData name="Suwapatch Euaraksakul (DHL Supply Chain)" userId="015e9e9a-4b13-46b3-965a-6d3b09440de1" providerId="ADAL" clId="{937C214A-A08D-4269-B6D6-ED1059A9A1B7}" dt="2023-08-28T15:36:28.039" v="759" actId="20577"/>
          <ac:spMkLst>
            <pc:docMk/>
            <pc:sldMk cId="1593161580" sldId="378"/>
            <ac:spMk id="19" creationId="{33DCEC31-2658-5059-8072-651D0B4375DB}"/>
          </ac:spMkLst>
        </pc:spChg>
        <pc:cxnChg chg="mod">
          <ac:chgData name="Suwapatch Euaraksakul (DHL Supply Chain)" userId="015e9e9a-4b13-46b3-965a-6d3b09440de1" providerId="ADAL" clId="{937C214A-A08D-4269-B6D6-ED1059A9A1B7}" dt="2023-08-29T05:38:51.711" v="1079" actId="14100"/>
          <ac:cxnSpMkLst>
            <pc:docMk/>
            <pc:sldMk cId="1593161580" sldId="378"/>
            <ac:cxnSpMk id="13" creationId="{6618774F-4BD0-7E38-FBF7-89FA6F9B04F6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29/08/2023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fld id="{2636F879-443D-410F-A2CF-15E984F48DC2}" type="datetimeFigureOut">
              <a:rPr lang="en-US" smtClean="0"/>
              <a:pPr/>
              <a:t>29/08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err="1"/>
              <a:t>TextmasterformatedurchKlickenbearbeiten</a:t>
            </a:r>
            <a:endParaRPr lang="en-US"/>
          </a:p>
          <a:p>
            <a:pPr lvl="1"/>
            <a:r>
              <a:rPr lang="en-US" err="1"/>
              <a:t>ZweiteEbene</a:t>
            </a:r>
            <a:endParaRPr lang="en-US"/>
          </a:p>
          <a:p>
            <a:pPr lvl="2"/>
            <a:r>
              <a:rPr lang="en-US" err="1"/>
              <a:t>DritteEbene</a:t>
            </a:r>
            <a:endParaRPr lang="en-US"/>
          </a:p>
          <a:p>
            <a:pPr lvl="3"/>
            <a:r>
              <a:rPr lang="en-US" err="1"/>
              <a:t>VierteEbene</a:t>
            </a:r>
            <a:endParaRPr lang="en-US"/>
          </a:p>
          <a:p>
            <a:pPr lvl="4"/>
            <a:r>
              <a:rPr lang="en-US" err="1"/>
              <a:t>Fünfte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Delivery" panose="020F0503020204020204" pitchFamily="34" charset="0"/>
        <a:ea typeface="+mn-ea"/>
        <a:cs typeface="+mn-cs"/>
        <a:sym typeface="Delivery" panose="020F0503020204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ice </a:t>
            </a:r>
            <a:fld id="{AE19FBA5-BE7F-4824-B54D-C07EBA2A496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134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1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6876000" y="4510483"/>
            <a:ext cx="1818000" cy="2664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>
                <a:latin typeface="+mn-lt"/>
                <a:sym typeface="Delivery" panose="020F0503020204020204" pitchFamily="34" charset="0"/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/>
              <a:t>Subline in one or two lines, Delivery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Location, ## Month ####</a:t>
            </a:r>
          </a:p>
        </p:txBody>
      </p:sp>
      <p:sp>
        <p:nvSpPr>
          <p:cNvPr id="8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SAMPLE TITLE ONE OR</a:t>
            </a:r>
            <a:br>
              <a:rPr lang="en-US"/>
            </a:br>
            <a:r>
              <a:rPr lang="en-US"/>
              <a:t>TWO LINES, Delivery, 37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/>
              <a:t>DHL Business Unit – Brand Promise, Delivery (bold), 12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94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361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FA7CECD-6204-4BC2-9FFD-E334D0D422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3044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074651-BF6A-4ED8-B928-F780E23F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6A49E49-D218-454B-A889-034B693235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2A53B55-4EF9-4065-AC40-7D72F0940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251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2A53B55-4EF9-4065-AC40-7D72F0940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5FCEB9C-FFF7-4B09-BB2C-177F00F8BE9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C612ECF-431A-4754-9ACF-1571E321E5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6E76B61-BA51-446D-8D8C-407961A81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828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6E76B61-BA51-446D-8D8C-407961A81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569FCA5-99D8-4A64-A8DD-AF738809E8E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tx2"/>
          </a:solidFill>
        </p:spPr>
        <p:txBody>
          <a:bodyPr lIns="360000" tIns="540000" rIns="360000"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sz="100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sz="100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B7D303C-42B3-45DA-8508-ABDD92C2E7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215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0A2A26-BC8D-4642-82D5-CB7489ABE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9552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414338" y="1093909"/>
            <a:ext cx="4050000" cy="329552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09132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08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18766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796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658135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37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D98AA-714B-4563-8BBF-05617BF23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18000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“This space is reserved for quotes. The box adjusts itself to the inserted text. Delivery, 25 pt”</a:t>
            </a:r>
            <a:endParaRPr lang="en-US" noProof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056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“This space is reserved for quotes. </a:t>
            </a:r>
            <a:br>
              <a:rPr lang="en-US"/>
            </a:br>
            <a:r>
              <a:rPr lang="en-US"/>
              <a:t>Delivery, 25 pt”</a:t>
            </a:r>
            <a:endParaRPr lang="en-US" noProof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F49C5D9-455A-4F5C-842C-D8810B7592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092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FE7DC0F-358C-473E-8A5C-44BF688CC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200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F2ADCB8-D69E-44F5-BFF3-18E359996D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126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/>
              <a:t>SAMPLE TITLE ONE OR</a:t>
            </a:r>
            <a:br>
              <a:rPr lang="en-US"/>
            </a:br>
            <a:r>
              <a:rPr lang="en-US"/>
              <a:t>TWO LINES, Delivery, 37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6876000" y="385200"/>
            <a:ext cx="1818000" cy="2664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>
                <a:latin typeface="+mn-lt"/>
                <a:sym typeface="Delivery" panose="020F0503020204020204" pitchFamily="34" charset="0"/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/>
              <a:t>Subline in one or two lines, Delivery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/>
              <a:t>DHL Business Unit – Brand Promise, Delivery (bold), 12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911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D975E8-4A2D-4793-B144-5026BEC0F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414000" y="4621860"/>
            <a:ext cx="1274400" cy="187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24D9109-4120-495A-B6AA-ED09849B14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69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24D9109-4120-495A-B6AA-ED09849B1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9EF2445-C1D6-4AA3-BC88-8B2454A8B15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FB35B335-3F90-4192-A7E8-599004C89DCB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414000" y="298800"/>
            <a:ext cx="1274400" cy="1908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503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42AC75-A447-4E8C-B99C-6C477755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noProof="0"/>
              <a:t>Thank YOU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6C6DDFD-780A-4783-894E-8D9B1F037A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35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1FB9862-0C1D-45A6-A6B7-0760D2A1F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/>
              <a:t>SAMPLE TITLE ONE OR </a:t>
            </a:r>
            <a:br>
              <a:rPr lang="en-US"/>
            </a:br>
            <a:r>
              <a:rPr lang="en-US"/>
              <a:t>TWO LINES, Delivery, 37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64289EA-6BCD-4298-A11E-4FE720174E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6000" y="4517514"/>
            <a:ext cx="1818000" cy="266275"/>
          </a:xfrm>
          <a:prstGeom prst="rect">
            <a:avLst/>
          </a:prstGeom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>
                <a:latin typeface="+mn-lt"/>
                <a:sym typeface="Delivery" panose="020F0503020204020204" pitchFamily="34" charset="0"/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/>
              <a:t>Subline in one or two lines, Delivery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/>
              <a:t>DHL Business Unit – Brand Promise, Delivery (bold), 12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17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/>
              <a:t>section divider with image, Delivery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CB411558-1334-4BA3-A86E-C9C5DFED9E5E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414000" y="4621860"/>
            <a:ext cx="1274400" cy="187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123A318-B627-4A2B-ADDF-94CED60740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48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123A318-B627-4A2B-ADDF-94CED60740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3F88A57-5582-41BA-8017-DCDD5AEF0B1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PLEASE INSERT CLASSIFICATION HERE</a:t>
            </a:r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94E033E1-D88A-4685-BA01-313CF70F2603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414000" y="324000"/>
            <a:ext cx="1274400" cy="1908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section divider with image, Delivery, 37 pt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89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E897C5-97FD-42EE-AF0E-5D267D69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section divider with Gradient, Delivery, 37 p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6B68CD1-0DCE-4D94-8583-8AFA6CB4BB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05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8B84C1-B965-470D-A97F-7C63518E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dolore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8B01478-827A-4531-9955-F1DAE613B2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952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CC54D76-52BE-4958-8E9F-49D56CCD0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/>
              <a:t>Sample section</a:t>
            </a:r>
          </a:p>
          <a:p>
            <a:pPr lvl="1"/>
            <a:r>
              <a:rPr lang="en-US"/>
              <a:t>Lorem ipsum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consista</a:t>
            </a:r>
            <a:endParaRPr lang="en-US"/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consista</a:t>
            </a:r>
            <a:endParaRPr lang="en-US"/>
          </a:p>
          <a:p>
            <a:r>
              <a:rPr lang="en-US"/>
              <a:t>Sample section</a:t>
            </a:r>
          </a:p>
          <a:p>
            <a:pPr lvl="1"/>
            <a:r>
              <a:rPr lang="en-US"/>
              <a:t>Lorem ipsum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consista</a:t>
            </a:r>
            <a:endParaRPr lang="en-US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000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000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000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FA3585D4-AC14-4165-A14A-B5E062F492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159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D32F061-BA4C-448E-AFE3-012A2685D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>
              <a:ln>
                <a:noFill/>
              </a:ln>
              <a:solidFill>
                <a:schemeClr val="accent3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00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19A5D0A-518E-4924-B6FA-F184FBDF4C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0" y="4621860"/>
            <a:ext cx="1275656" cy="19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40757973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34624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>
                <a:solidFill>
                  <a:schemeClr val="accent1"/>
                </a:solidFill>
                <a:latin typeface="+mn-lt"/>
                <a:sym typeface="Delivery" panose="020F0503020204020204" pitchFamily="34" charset="0"/>
              </a:rPr>
              <a:t>PUBLIC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MSIPCMContentMarking" descr="{&quot;HashCode&quot;:90510872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CFBE5632-55C0-40BC-9E1A-CB9B45C1E28A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es-MX" sz="100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98" r:id="rId14"/>
    <p:sldLayoutId id="2147483695" r:id="rId15"/>
    <p:sldLayoutId id="2147483696" r:id="rId16"/>
    <p:sldLayoutId id="2147483668" r:id="rId17"/>
    <p:sldLayoutId id="2147483667" r:id="rId18"/>
    <p:sldLayoutId id="2147483692" r:id="rId19"/>
    <p:sldLayoutId id="2147483674" r:id="rId20"/>
    <p:sldLayoutId id="2147483675" r:id="rId21"/>
    <p:sldLayoutId id="2147483690" r:id="rId22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customer.support@dhl.com" TargetMode="External"/><Relationship Id="rId2" Type="http://schemas.openxmlformats.org/officeDocument/2006/relationships/hyperlink" Target="mailto:&#35831;&#21457;&#36865;&#30005;&#23376;&#37038;&#20214;&#33267;customer.support@dhl.com" TargetMode="Externa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hyperlink" Target="https://mysupplychain.dhl.com/auth_msc/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000" y="646725"/>
            <a:ext cx="8316000" cy="1385999"/>
          </a:xfrm>
        </p:spPr>
        <p:txBody>
          <a:bodyPr/>
          <a:lstStyle/>
          <a:p>
            <a:r>
              <a:rPr lang="en-US" dirty="0"/>
              <a:t>DHL Supply Chain Transport Order Portal (TOP) User Guid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"/>
          </p:nvPr>
        </p:nvSpPr>
        <p:spPr>
          <a:xfrm>
            <a:off x="414000" y="0"/>
            <a:ext cx="346249" cy="206719"/>
          </a:xfrm>
        </p:spPr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"/>
          </p:nvPr>
        </p:nvSpPr>
        <p:spPr>
          <a:xfrm>
            <a:off x="414000" y="3171700"/>
            <a:ext cx="8316000" cy="487838"/>
          </a:xfrm>
        </p:spPr>
        <p:txBody>
          <a:bodyPr/>
          <a:lstStyle/>
          <a:p>
            <a:r>
              <a:rPr lang="en-US"/>
              <a:t>Powered by MySupplyChain™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14000" y="3598854"/>
            <a:ext cx="8316000" cy="239193"/>
          </a:xfrm>
        </p:spPr>
        <p:txBody>
          <a:bodyPr/>
          <a:lstStyle/>
          <a:p>
            <a:r>
              <a:rPr lang="en-US"/>
              <a:t>TOP User Gu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"/>
          </p:nvPr>
        </p:nvSpPr>
        <p:spPr>
          <a:xfrm>
            <a:off x="414000" y="3806181"/>
            <a:ext cx="8316000" cy="355334"/>
          </a:xfrm>
        </p:spPr>
        <p:txBody>
          <a:bodyPr/>
          <a:lstStyle/>
          <a:p>
            <a:r>
              <a:rPr lang="en-US"/>
              <a:t>DHL Supply Chain – Excellence. Simply Delivered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"/>
          </p:nvPr>
        </p:nvSpPr>
        <p:spPr/>
        <p:txBody>
          <a:bodyPr/>
          <a:lstStyle/>
          <a:p>
            <a:r>
              <a:rPr lang="en-US"/>
              <a:t>Automotive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414000" y="2223942"/>
            <a:ext cx="8316000" cy="4878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99536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0" marR="0" indent="-180000" algn="l" defTabSz="995363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itchFamily="34" charset="0"/>
              <a:buChar char="•"/>
              <a:tabLst/>
              <a:defRPr lang="en-US" sz="20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arley Davidson Supplier Portal Training</a:t>
            </a:r>
          </a:p>
        </p:txBody>
      </p:sp>
    </p:spTree>
    <p:extLst>
      <p:ext uri="{BB962C8B-B14F-4D97-AF65-F5344CB8AC3E}">
        <p14:creationId xmlns:p14="http://schemas.microsoft.com/office/powerpoint/2010/main" val="38872892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53DE191-5C7D-3C89-DF24-6D14D6A368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8826" y="2008617"/>
            <a:ext cx="4546240" cy="20979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z="1800" i="0" u="none" strike="noStrike" cap="none" normalizeH="0" baseline="0" dirty="0">
                <a:ln>
                  <a:noFill/>
                </a:ln>
                <a:effectLst/>
              </a:rPr>
              <a:t>发布订单 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</a:rPr>
              <a:t>– </a:t>
            </a:r>
            <a:r>
              <a:rPr kumimoji="0" lang="zh-CN" altLang="en-US" sz="1800" i="0" u="none" strike="noStrike" cap="none" normalizeH="0" baseline="0" dirty="0">
                <a:ln>
                  <a:noFill/>
                </a:ln>
                <a:effectLst/>
              </a:rPr>
              <a:t>取货和 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</a:rPr>
              <a:t>(</a:t>
            </a:r>
            <a:r>
              <a:rPr lang="en-US"/>
              <a:t>Release Order – Pickup and Delivery</a:t>
            </a:r>
            <a:r>
              <a:rPr lang="en-US" dirty="0"/>
              <a:t>)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5" name="Line Callout 1 4"/>
          <p:cNvSpPr/>
          <p:nvPr/>
        </p:nvSpPr>
        <p:spPr bwMode="auto">
          <a:xfrm>
            <a:off x="324144" y="2372281"/>
            <a:ext cx="1287773" cy="394296"/>
          </a:xfrm>
          <a:prstGeom prst="borderCallout1">
            <a:avLst>
              <a:gd name="adj1" fmla="val 49353"/>
              <a:gd name="adj2" fmla="val 100719"/>
              <a:gd name="adj3" fmla="val 54265"/>
              <a:gd name="adj4" fmla="val 146582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rgbClr val="C00000"/>
                </a:solidFill>
              </a:rPr>
              <a:t>1) Purchase orders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dirty="0"/>
              <a:t>表示您选择的订单</a:t>
            </a: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Line Callout 1 5"/>
          <p:cNvSpPr/>
          <p:nvPr/>
        </p:nvSpPr>
        <p:spPr bwMode="auto">
          <a:xfrm>
            <a:off x="477527" y="3327496"/>
            <a:ext cx="1287773" cy="698938"/>
          </a:xfrm>
          <a:prstGeom prst="borderCallout1">
            <a:avLst>
              <a:gd name="adj1" fmla="val 50634"/>
              <a:gd name="adj2" fmla="val 100363"/>
              <a:gd name="adj3" fmla="val 23282"/>
              <a:gd name="adj4" fmla="val 13540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rgbClr val="C00000"/>
                </a:solidFill>
              </a:rPr>
              <a:t>3) Pick up and Delivery 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dirty="0"/>
              <a:t>输入预计取货日期，即货物准备好的日期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4000" y="1008887"/>
            <a:ext cx="8316000" cy="4623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选择订单之后，您将看到以下屏幕。</a:t>
            </a:r>
            <a:endParaRPr lang="en-US" altLang="zh-CN" sz="12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供应商负责填写发货单中取货和交货、货运单位 、一般信息和备注部分的所有字段。</a:t>
            </a:r>
            <a:endParaRPr lang="en-US" sz="1200" dirty="0"/>
          </a:p>
        </p:txBody>
      </p:sp>
      <p:sp>
        <p:nvSpPr>
          <p:cNvPr id="12" name="Line Callout 1 11"/>
          <p:cNvSpPr/>
          <p:nvPr/>
        </p:nvSpPr>
        <p:spPr bwMode="auto">
          <a:xfrm>
            <a:off x="6623541" y="3244516"/>
            <a:ext cx="1746746" cy="641684"/>
          </a:xfrm>
          <a:prstGeom prst="borderCallout1">
            <a:avLst>
              <a:gd name="adj1" fmla="val 49586"/>
              <a:gd name="adj2" fmla="val -851"/>
              <a:gd name="adj3" fmla="val 86431"/>
              <a:gd name="adj4" fmla="val -4401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rgbClr val="C00000"/>
                </a:solidFill>
              </a:rPr>
              <a:t>4) Expected Delivery Date</a:t>
            </a:r>
            <a:endParaRPr lang="en-US" sz="900" b="1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dirty="0"/>
              <a:t>供应商不许随便更改此部分，送货日期由 </a:t>
            </a:r>
            <a:r>
              <a:rPr lang="en-US" altLang="zh-CN" sz="900" dirty="0"/>
              <a:t>Harley Davidson </a:t>
            </a:r>
            <a:r>
              <a:rPr lang="zh-CN" altLang="en-US" sz="900" dirty="0"/>
              <a:t>提供</a:t>
            </a:r>
          </a:p>
        </p:txBody>
      </p:sp>
      <p:sp>
        <p:nvSpPr>
          <p:cNvPr id="10" name="Line Callout 1 9"/>
          <p:cNvSpPr/>
          <p:nvPr/>
        </p:nvSpPr>
        <p:spPr bwMode="auto">
          <a:xfrm>
            <a:off x="6885362" y="1642518"/>
            <a:ext cx="1675122" cy="732199"/>
          </a:xfrm>
          <a:prstGeom prst="borderCallout1">
            <a:avLst>
              <a:gd name="adj1" fmla="val 49586"/>
              <a:gd name="adj2" fmla="val -851"/>
              <a:gd name="adj3" fmla="val 145536"/>
              <a:gd name="adj4" fmla="val -4416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rgbClr val="C00000"/>
                </a:solidFill>
              </a:rPr>
              <a:t>2) Quantity to Release</a:t>
            </a:r>
            <a:endParaRPr lang="en-US" sz="900" b="1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dirty="0"/>
              <a:t>此部分允许用户在 </a:t>
            </a:r>
            <a:r>
              <a:rPr lang="en-US" altLang="zh-CN" sz="900" dirty="0"/>
              <a:t>1 </a:t>
            </a:r>
            <a:r>
              <a:rPr lang="zh-CN" altLang="en-US" sz="900" dirty="0"/>
              <a:t>个或所有现有可用数量之间选择要</a:t>
            </a:r>
            <a:r>
              <a:rPr kumimoji="0" lang="zh-CN" altLang="en-US" sz="900" i="0" u="none" strike="noStrike" cap="none" normalizeH="0" baseline="0" dirty="0">
                <a:ln>
                  <a:noFill/>
                </a:ln>
                <a:effectLst/>
              </a:rPr>
              <a:t>发布</a:t>
            </a:r>
            <a:r>
              <a:rPr lang="zh-CN" altLang="en-US" sz="900" dirty="0"/>
              <a:t>的数量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C402FE8-3ED3-400B-9020-85E0C2DA0DA6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6CF9CC-CC76-AA34-F1B4-962E23E8DFD8}"/>
              </a:ext>
            </a:extLst>
          </p:cNvPr>
          <p:cNvSpPr/>
          <p:nvPr/>
        </p:nvSpPr>
        <p:spPr bwMode="auto">
          <a:xfrm>
            <a:off x="3678238" y="3530600"/>
            <a:ext cx="1404936" cy="127000"/>
          </a:xfrm>
          <a:prstGeom prst="rect">
            <a:avLst/>
          </a:prstGeom>
          <a:solidFill>
            <a:srgbClr val="FFDB4C">
              <a:alpha val="2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67ABEA-E3CF-3859-1A39-A0D8A4E587A3}"/>
              </a:ext>
            </a:extLst>
          </p:cNvPr>
          <p:cNvSpPr/>
          <p:nvPr/>
        </p:nvSpPr>
        <p:spPr bwMode="auto">
          <a:xfrm>
            <a:off x="5150890" y="3767702"/>
            <a:ext cx="1404936" cy="118498"/>
          </a:xfrm>
          <a:prstGeom prst="rect">
            <a:avLst/>
          </a:prstGeom>
          <a:solidFill>
            <a:srgbClr val="FFDB4C">
              <a:alpha val="2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52957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723" y="2293621"/>
            <a:ext cx="8765285" cy="12807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1800" dirty="0"/>
              <a:t>订单修改 </a:t>
            </a:r>
            <a:r>
              <a:rPr lang="en-US" altLang="zh-CN" sz="1800" dirty="0"/>
              <a:t>- </a:t>
            </a:r>
            <a:r>
              <a:rPr lang="zh-CN" altLang="en-US" sz="1800" dirty="0"/>
              <a:t>货运单位 （</a:t>
            </a:r>
            <a:r>
              <a:rPr lang="en-US"/>
              <a:t>Order Modification- Ship Units</a:t>
            </a:r>
            <a:r>
              <a:rPr lang="zh-CN" altLang="en-US" dirty="0"/>
              <a:t>）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8712" y="959922"/>
            <a:ext cx="8373305" cy="12865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供应商必须填写单位数量、长度、宽度、高度和总重量的字段。</a:t>
            </a:r>
            <a:endParaRPr lang="en-US" altLang="zh-CN" sz="1200" dirty="0"/>
          </a:p>
          <a:p>
            <a:pPr marL="285750" indent="-28575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所有项目均以</a:t>
            </a:r>
            <a:r>
              <a:rPr lang="zh-CN" altLang="en-US" sz="1200" b="1" dirty="0"/>
              <a:t>英寸</a:t>
            </a:r>
            <a:r>
              <a:rPr lang="zh-CN" altLang="en-US" sz="1200" dirty="0"/>
              <a:t>和</a:t>
            </a:r>
            <a:r>
              <a:rPr lang="zh-CN" altLang="en-US" sz="1200" b="1" dirty="0"/>
              <a:t>磅</a:t>
            </a:r>
            <a:r>
              <a:rPr lang="zh-CN" altLang="en-US" sz="1200" dirty="0"/>
              <a:t>列出，必须进行转换。</a:t>
            </a:r>
            <a:endParaRPr lang="en-US" altLang="zh-CN" sz="1200" dirty="0"/>
          </a:p>
          <a:p>
            <a:pPr marL="285750" indent="-28575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供应商能够为不同尺寸增加额外的单位线。</a:t>
            </a:r>
            <a:endParaRPr lang="en-US" sz="12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每个 </a:t>
            </a:r>
            <a:r>
              <a:rPr lang="en-US" altLang="zh-CN" sz="1200" dirty="0"/>
              <a:t>PO </a:t>
            </a:r>
            <a:r>
              <a:rPr lang="zh-CN" altLang="en-US" sz="1200" dirty="0"/>
              <a:t>输入的重量是每个处理或装运单位的重量，而</a:t>
            </a:r>
            <a:r>
              <a:rPr lang="zh-CN" altLang="en-US" sz="1200" b="1" dirty="0"/>
              <a:t>不是</a:t>
            </a:r>
            <a:r>
              <a:rPr lang="zh-CN" altLang="en-US" sz="1200" dirty="0"/>
              <a:t>装运的总重量。</a:t>
            </a:r>
            <a:r>
              <a:rPr lang="en-US" sz="1200" dirty="0"/>
              <a:t>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zh-CN" altLang="en-US" sz="1200" dirty="0"/>
              <a:t>尺寸必须输入</a:t>
            </a:r>
            <a:r>
              <a:rPr lang="zh-CN" altLang="en-US" sz="1200" b="1" dirty="0"/>
              <a:t>英寸 </a:t>
            </a:r>
            <a:r>
              <a:rPr lang="en-US" altLang="zh-CN" sz="1200" b="1" dirty="0"/>
              <a:t>(IN) </a:t>
            </a:r>
            <a:r>
              <a:rPr lang="zh-CN" altLang="en-US" sz="1200" dirty="0"/>
              <a:t>为单位，的重量必须输入</a:t>
            </a:r>
            <a:r>
              <a:rPr lang="zh-CN" altLang="en-US" sz="1200" b="1" dirty="0"/>
              <a:t>磅 </a:t>
            </a:r>
            <a:r>
              <a:rPr lang="en-US" altLang="zh-CN" sz="1200" b="1" dirty="0"/>
              <a:t>(LBS) </a:t>
            </a:r>
            <a:r>
              <a:rPr lang="zh-CN" altLang="en-US" sz="1200" dirty="0"/>
              <a:t>为单位。</a:t>
            </a:r>
            <a:endParaRPr lang="en-US" sz="1200" dirty="0"/>
          </a:p>
        </p:txBody>
      </p:sp>
      <p:sp>
        <p:nvSpPr>
          <p:cNvPr id="7" name="Line Callout 1 6"/>
          <p:cNvSpPr/>
          <p:nvPr/>
        </p:nvSpPr>
        <p:spPr bwMode="auto">
          <a:xfrm flipH="1">
            <a:off x="5278915" y="2281604"/>
            <a:ext cx="2863599" cy="453983"/>
          </a:xfrm>
          <a:prstGeom prst="borderCallout1">
            <a:avLst>
              <a:gd name="adj1" fmla="val 101243"/>
              <a:gd name="adj2" fmla="val 50054"/>
              <a:gd name="adj3" fmla="val 153962"/>
              <a:gd name="adj4" fmla="val 4906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/>
              <a:t>在订单发布屏幕中，供应商可以确认订单信息并验证商品是否 “可堆叠”</a:t>
            </a:r>
            <a:endParaRPr lang="en-US" sz="1000" dirty="0"/>
          </a:p>
        </p:txBody>
      </p:sp>
      <p:sp>
        <p:nvSpPr>
          <p:cNvPr id="8" name="Line Callout 1 7"/>
          <p:cNvSpPr/>
          <p:nvPr/>
        </p:nvSpPr>
        <p:spPr bwMode="auto">
          <a:xfrm flipH="1">
            <a:off x="1147467" y="2275141"/>
            <a:ext cx="2863599" cy="453983"/>
          </a:xfrm>
          <a:prstGeom prst="borderCallout1">
            <a:avLst>
              <a:gd name="adj1" fmla="val -1640"/>
              <a:gd name="adj2" fmla="val 99823"/>
              <a:gd name="adj3" fmla="val 150246"/>
              <a:gd name="adj4" fmla="val 106763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/>
              <a:t>建立订单时，请选择您要为一个该订单发送的托盘数量</a:t>
            </a:r>
            <a:endParaRPr lang="en-US" sz="1000" dirty="0"/>
          </a:p>
        </p:txBody>
      </p:sp>
      <p:sp>
        <p:nvSpPr>
          <p:cNvPr id="10" name="Line Callout 1 9"/>
          <p:cNvSpPr/>
          <p:nvPr/>
        </p:nvSpPr>
        <p:spPr bwMode="auto">
          <a:xfrm flipH="1">
            <a:off x="5687872" y="4177322"/>
            <a:ext cx="2987401" cy="233522"/>
          </a:xfrm>
          <a:prstGeom prst="borderCallout1">
            <a:avLst>
              <a:gd name="adj1" fmla="val -190"/>
              <a:gd name="adj2" fmla="val 50284"/>
              <a:gd name="adj3" fmla="val -448524"/>
              <a:gd name="adj4" fmla="val 2367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000" b="1" dirty="0"/>
              <a:t>每一个</a:t>
            </a:r>
            <a:r>
              <a:rPr lang="zh-CN" altLang="en-US" sz="1000" dirty="0"/>
              <a:t>搬运</a:t>
            </a:r>
            <a:r>
              <a:rPr lang="en-US" altLang="zh-CN" sz="1000" dirty="0"/>
              <a:t>/</a:t>
            </a:r>
            <a:r>
              <a:rPr lang="zh-CN" altLang="en-US" sz="1000" dirty="0"/>
              <a:t>装运单位的重量，而</a:t>
            </a:r>
            <a:r>
              <a:rPr lang="zh-CN" altLang="en-US" sz="1000" dirty="0">
                <a:solidFill>
                  <a:srgbClr val="FF0000"/>
                </a:solidFill>
              </a:rPr>
              <a:t>不是</a:t>
            </a:r>
            <a:r>
              <a:rPr lang="zh-CN" altLang="en-US" sz="1000" dirty="0"/>
              <a:t>毛重</a:t>
            </a:r>
            <a:endParaRPr lang="en-US" sz="1000" dirty="0"/>
          </a:p>
        </p:txBody>
      </p:sp>
      <p:sp>
        <p:nvSpPr>
          <p:cNvPr id="11" name="Line Callout 1 7">
            <a:extLst>
              <a:ext uri="{FF2B5EF4-FFF2-40B4-BE49-F238E27FC236}">
                <a16:creationId xmlns:a16="http://schemas.microsoft.com/office/drawing/2014/main" id="{7FA83C01-1144-4F5F-BE9D-3BB0A34D8467}"/>
              </a:ext>
            </a:extLst>
          </p:cNvPr>
          <p:cNvSpPr/>
          <p:nvPr/>
        </p:nvSpPr>
        <p:spPr bwMode="auto">
          <a:xfrm flipH="1">
            <a:off x="2933083" y="3615866"/>
            <a:ext cx="2863599" cy="453983"/>
          </a:xfrm>
          <a:prstGeom prst="borderCallout1">
            <a:avLst>
              <a:gd name="adj1" fmla="val 1745"/>
              <a:gd name="adj2" fmla="val 89269"/>
              <a:gd name="adj3" fmla="val -89366"/>
              <a:gd name="adj4" fmla="val 10787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/>
              <a:t>此信息为每个托盘（一个托盘）</a:t>
            </a:r>
            <a:endParaRPr lang="en-US" sz="1200" b="1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BA2535B-A50B-446F-8540-CDA1DD3531A8}"/>
              </a:ext>
            </a:extLst>
          </p:cNvPr>
          <p:cNvCxnSpPr/>
          <p:nvPr/>
        </p:nvCxnSpPr>
        <p:spPr bwMode="auto">
          <a:xfrm flipH="1" flipV="1">
            <a:off x="3954125" y="3098967"/>
            <a:ext cx="56941" cy="516899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75B0CF9-E4AC-469F-B6C5-4C2643CC8633}"/>
              </a:ext>
            </a:extLst>
          </p:cNvPr>
          <p:cNvCxnSpPr>
            <a:cxnSpLocks/>
          </p:cNvCxnSpPr>
          <p:nvPr/>
        </p:nvCxnSpPr>
        <p:spPr bwMode="auto">
          <a:xfrm flipV="1">
            <a:off x="4879361" y="3098969"/>
            <a:ext cx="350195" cy="51689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881DD55A-026C-4E49-A16F-A5D00EC0CB5F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Line Callout 1 7">
            <a:extLst>
              <a:ext uri="{FF2B5EF4-FFF2-40B4-BE49-F238E27FC236}">
                <a16:creationId xmlns:a16="http://schemas.microsoft.com/office/drawing/2014/main" id="{D60EE62E-C563-42AB-83A4-EB0BD1A0D96C}"/>
              </a:ext>
            </a:extLst>
          </p:cNvPr>
          <p:cNvSpPr/>
          <p:nvPr/>
        </p:nvSpPr>
        <p:spPr bwMode="auto">
          <a:xfrm flipH="1">
            <a:off x="219916" y="3874709"/>
            <a:ext cx="2045436" cy="605226"/>
          </a:xfrm>
          <a:prstGeom prst="borderCallout1">
            <a:avLst>
              <a:gd name="adj1" fmla="val -341"/>
              <a:gd name="adj2" fmla="val 71405"/>
              <a:gd name="adj3" fmla="val -78239"/>
              <a:gd name="adj4" fmla="val 9363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/>
              <a:t>此功能允许您在 </a:t>
            </a:r>
            <a:r>
              <a:rPr lang="en-US" altLang="zh-CN" sz="1000" dirty="0"/>
              <a:t>PO </a:t>
            </a:r>
            <a:r>
              <a:rPr lang="zh-CN" altLang="en-US" sz="1000" dirty="0"/>
              <a:t>发布中输入另一行。 如果您要增加不同尺寸的托盘，请选择此功能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2572700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D827E4D-F9C9-E36C-D2C6-A1A99D4E4E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81" y="2405006"/>
            <a:ext cx="8441977" cy="8659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修改 </a:t>
            </a:r>
            <a:r>
              <a:rPr lang="en-US" altLang="zh-CN" dirty="0"/>
              <a:t>- </a:t>
            </a:r>
            <a:r>
              <a:rPr lang="zh-CN" altLang="en-US" dirty="0"/>
              <a:t>一般信息</a:t>
            </a:r>
            <a:r>
              <a:rPr lang="en-US" altLang="zh-CN" dirty="0"/>
              <a:t>/</a:t>
            </a:r>
            <a:r>
              <a:rPr lang="zh-CN" altLang="en-US" dirty="0"/>
              <a:t>参考资料和备注</a:t>
            </a:r>
            <a:br>
              <a:rPr lang="en-US" altLang="zh-CN" dirty="0"/>
            </a:br>
            <a:r>
              <a:rPr lang="en-US" altLang="zh-CN" dirty="0"/>
              <a:t>(</a:t>
            </a:r>
            <a:r>
              <a:rPr lang="en-US" dirty="0"/>
              <a:t>Order Modification- General Information  / References and Remarks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1150" y="1025712"/>
            <a:ext cx="6965950" cy="5287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供应商填写货运等级（对于海运，输入“</a:t>
            </a:r>
            <a:r>
              <a:rPr lang="en-US" altLang="zh-CN" sz="1400" dirty="0"/>
              <a:t>55”</a:t>
            </a:r>
            <a:r>
              <a:rPr lang="zh-CN" altLang="en-US" sz="1400" dirty="0"/>
              <a:t>）</a:t>
            </a:r>
            <a:endParaRPr lang="en-US" sz="14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dirty="0"/>
              <a:t>在温度控制和危险货物上选择 是</a:t>
            </a:r>
            <a:r>
              <a:rPr lang="en-US" altLang="zh-CN" sz="1400" dirty="0"/>
              <a:t>/</a:t>
            </a:r>
            <a:r>
              <a:rPr lang="zh-CN" altLang="en-US" sz="1400" dirty="0"/>
              <a:t>否</a:t>
            </a:r>
            <a:endParaRPr lang="en-US" sz="1400" dirty="0"/>
          </a:p>
        </p:txBody>
      </p:sp>
      <p:sp>
        <p:nvSpPr>
          <p:cNvPr id="11" name="Line Callout 1 10"/>
          <p:cNvSpPr/>
          <p:nvPr/>
        </p:nvSpPr>
        <p:spPr bwMode="auto">
          <a:xfrm flipH="1">
            <a:off x="76840" y="1586194"/>
            <a:ext cx="1433945" cy="512980"/>
          </a:xfrm>
          <a:prstGeom prst="borderCallout1">
            <a:avLst>
              <a:gd name="adj1" fmla="val 99678"/>
              <a:gd name="adj2" fmla="val 52586"/>
              <a:gd name="adj3" fmla="val 239148"/>
              <a:gd name="adj4" fmla="val 52410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FF0000"/>
                </a:solidFill>
              </a:rPr>
              <a:t>1). </a:t>
            </a:r>
            <a:r>
              <a:rPr lang="zh-CN" altLang="en-US" sz="1050" dirty="0"/>
              <a:t>从温度控制下拉列表中选择是或否</a:t>
            </a:r>
            <a:endParaRPr lang="en-US" sz="1050" dirty="0"/>
          </a:p>
        </p:txBody>
      </p:sp>
      <p:sp>
        <p:nvSpPr>
          <p:cNvPr id="12" name="Line Callout 1 11"/>
          <p:cNvSpPr/>
          <p:nvPr/>
        </p:nvSpPr>
        <p:spPr bwMode="auto">
          <a:xfrm>
            <a:off x="7213507" y="2591261"/>
            <a:ext cx="1852756" cy="533479"/>
          </a:xfrm>
          <a:prstGeom prst="borderCallout1">
            <a:avLst>
              <a:gd name="adj1" fmla="val 49077"/>
              <a:gd name="adj2" fmla="val -486"/>
              <a:gd name="adj3" fmla="val 49744"/>
              <a:gd name="adj4" fmla="val -40353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FF0000"/>
                </a:solidFill>
              </a:rPr>
              <a:t>4). </a:t>
            </a:r>
            <a:r>
              <a:rPr lang="zh-CN" altLang="en-US" sz="1050" dirty="0"/>
              <a:t>从危险下拉列表中选择是或否</a:t>
            </a:r>
            <a:endParaRPr lang="en-US" sz="1050" dirty="0"/>
          </a:p>
        </p:txBody>
      </p:sp>
      <p:sp>
        <p:nvSpPr>
          <p:cNvPr id="13" name="Line Callout 1 12"/>
          <p:cNvSpPr/>
          <p:nvPr/>
        </p:nvSpPr>
        <p:spPr bwMode="auto">
          <a:xfrm>
            <a:off x="4198792" y="3124740"/>
            <a:ext cx="1490808" cy="452058"/>
          </a:xfrm>
          <a:prstGeom prst="borderCallout1">
            <a:avLst>
              <a:gd name="adj1" fmla="val 49077"/>
              <a:gd name="adj2" fmla="val -486"/>
              <a:gd name="adj3" fmla="val -38618"/>
              <a:gd name="adj4" fmla="val -1961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FF0000"/>
                </a:solidFill>
              </a:rPr>
              <a:t>3). </a:t>
            </a:r>
            <a:r>
              <a:rPr lang="zh-CN" altLang="en-US" sz="1050" dirty="0"/>
              <a:t>输入正确的国际贸易术语解释通则位置</a:t>
            </a:r>
            <a:endParaRPr lang="en-US" sz="1050" dirty="0"/>
          </a:p>
        </p:txBody>
      </p:sp>
      <p:sp>
        <p:nvSpPr>
          <p:cNvPr id="15" name="Line Callout 1 14"/>
          <p:cNvSpPr/>
          <p:nvPr/>
        </p:nvSpPr>
        <p:spPr bwMode="auto">
          <a:xfrm flipH="1">
            <a:off x="250588" y="3580904"/>
            <a:ext cx="1597261" cy="659961"/>
          </a:xfrm>
          <a:prstGeom prst="borderCallout1">
            <a:avLst>
              <a:gd name="adj1" fmla="val -2769"/>
              <a:gd name="adj2" fmla="val 54231"/>
              <a:gd name="adj3" fmla="val -85025"/>
              <a:gd name="adj4" fmla="val -26968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FF0000"/>
                </a:solidFill>
              </a:rPr>
              <a:t>2).</a:t>
            </a:r>
            <a:r>
              <a:rPr lang="en-US" sz="1050" dirty="0"/>
              <a:t>  </a:t>
            </a:r>
            <a:r>
              <a:rPr lang="zh-CN" altLang="en-US" sz="1050" dirty="0"/>
              <a:t>如果 </a:t>
            </a:r>
            <a:r>
              <a:rPr lang="en-US" altLang="zh-CN" sz="1050" dirty="0"/>
              <a:t>"</a:t>
            </a:r>
            <a:r>
              <a:rPr lang="zh-CN" altLang="en-US" sz="1050" dirty="0"/>
              <a:t>国际贸易术语解释通则 </a:t>
            </a:r>
            <a:r>
              <a:rPr lang="en-US" altLang="zh-CN" sz="1050" dirty="0"/>
              <a:t>"</a:t>
            </a:r>
            <a:r>
              <a:rPr lang="zh-CN" altLang="en-US" sz="1050" dirty="0"/>
              <a:t>未自动增加，请为货物选择正确的国际贸易术语解释通则。</a:t>
            </a:r>
            <a:endParaRPr lang="en-US" sz="105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331EE2-21AE-4DA8-9841-616434F70134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23138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318757-CB24-B7EE-6C6D-1CAFDB43F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00" y="997346"/>
            <a:ext cx="6104787" cy="31322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修改 </a:t>
            </a:r>
            <a:r>
              <a:rPr lang="en-US" altLang="zh-CN" dirty="0"/>
              <a:t>- </a:t>
            </a:r>
            <a:r>
              <a:rPr lang="zh-CN" altLang="en-US" dirty="0"/>
              <a:t>如果是危险装运</a:t>
            </a:r>
            <a:br>
              <a:rPr lang="en-US" dirty="0"/>
            </a:br>
            <a:r>
              <a:rPr lang="en-US" dirty="0"/>
              <a:t>Order Modification- If Hazardous Y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2" name="Line Callout 1 11"/>
          <p:cNvSpPr/>
          <p:nvPr/>
        </p:nvSpPr>
        <p:spPr bwMode="auto">
          <a:xfrm>
            <a:off x="7007030" y="3582656"/>
            <a:ext cx="1488042" cy="358114"/>
          </a:xfrm>
          <a:prstGeom prst="borderCallout1">
            <a:avLst>
              <a:gd name="adj1" fmla="val 49077"/>
              <a:gd name="adj2" fmla="val -486"/>
              <a:gd name="adj3" fmla="val 49744"/>
              <a:gd name="adj4" fmla="val -37806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331EE2-21AE-4DA8-9841-616434F70134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85B32C-0F54-4494-61AD-834B250AA792}"/>
              </a:ext>
            </a:extLst>
          </p:cNvPr>
          <p:cNvSpPr txBox="1"/>
          <p:nvPr/>
        </p:nvSpPr>
        <p:spPr>
          <a:xfrm>
            <a:off x="7067427" y="3679638"/>
            <a:ext cx="1302860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输入正确的 </a:t>
            </a:r>
            <a:r>
              <a:rPr lang="en-US" sz="1050" dirty="0"/>
              <a:t>UN Code</a:t>
            </a:r>
          </a:p>
        </p:txBody>
      </p:sp>
    </p:spTree>
    <p:extLst>
      <p:ext uri="{BB962C8B-B14F-4D97-AF65-F5344CB8AC3E}">
        <p14:creationId xmlns:p14="http://schemas.microsoft.com/office/powerpoint/2010/main" val="2681179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参考资料和备注 </a:t>
            </a:r>
            <a:r>
              <a:rPr lang="en-US" altLang="zh-CN" dirty="0"/>
              <a:t>- </a:t>
            </a:r>
            <a:r>
              <a:rPr lang="zh-CN" altLang="en-US" dirty="0"/>
              <a:t>特别说明</a:t>
            </a:r>
            <a:r>
              <a:rPr lang="en-US" altLang="zh-CN" dirty="0"/>
              <a:t>:</a:t>
            </a:r>
            <a:br>
              <a:rPr lang="en-US" dirty="0"/>
            </a:br>
            <a:r>
              <a:rPr lang="en-US" dirty="0"/>
              <a:t>References and Remarks- Special Instructions: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25847" y="1017007"/>
            <a:ext cx="8318500" cy="2055191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b="1" u="sng" dirty="0"/>
              <a:t>如果可用</a:t>
            </a:r>
            <a:r>
              <a:rPr lang="zh-CN" altLang="en-US" dirty="0"/>
              <a:t>，请在参考资料和备注中包括以下内容：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46F367-EF1D-4403-A0D4-AAA29733E365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42E413-BB27-B71E-80F6-8D1ADB4D7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811" y="1344930"/>
            <a:ext cx="8046572" cy="12843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FB68C6-4432-F9B6-423B-9929416A34CC}"/>
              </a:ext>
            </a:extLst>
          </p:cNvPr>
          <p:cNvSpPr txBox="1"/>
          <p:nvPr/>
        </p:nvSpPr>
        <p:spPr>
          <a:xfrm>
            <a:off x="323715" y="2926080"/>
            <a:ext cx="5221679" cy="398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200" dirty="0"/>
              <a:t>应使用特殊说明来填写信息，例如特定的登机口、可供装载的码头、任何装载时间限制等。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229683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发布 </a:t>
            </a:r>
            <a:r>
              <a:rPr lang="en-US" altLang="zh-CN" dirty="0"/>
              <a:t>(</a:t>
            </a:r>
            <a:r>
              <a:rPr lang="en-US" dirty="0"/>
              <a:t>Release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B9A5ED-E565-4EF2-A52C-78197A291340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CC9661-8DB6-B017-B962-E9D7E34F06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224" y="997346"/>
            <a:ext cx="8453776" cy="20718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EC0402F-CE9F-028D-EE2A-FB079896ADF1}"/>
              </a:ext>
            </a:extLst>
          </p:cNvPr>
          <p:cNvSpPr/>
          <p:nvPr/>
        </p:nvSpPr>
        <p:spPr bwMode="auto">
          <a:xfrm>
            <a:off x="7704558" y="1290975"/>
            <a:ext cx="1072637" cy="366744"/>
          </a:xfrm>
          <a:custGeom>
            <a:avLst/>
            <a:gdLst>
              <a:gd name="connsiteX0" fmla="*/ 0 w 1072637"/>
              <a:gd name="connsiteY0" fmla="*/ 0 h 365760"/>
              <a:gd name="connsiteX1" fmla="*/ 1072637 w 1072637"/>
              <a:gd name="connsiteY1" fmla="*/ 0 h 365760"/>
              <a:gd name="connsiteX2" fmla="*/ 1072637 w 1072637"/>
              <a:gd name="connsiteY2" fmla="*/ 365760 h 365760"/>
              <a:gd name="connsiteX3" fmla="*/ 0 w 1072637"/>
              <a:gd name="connsiteY3" fmla="*/ 365760 h 365760"/>
              <a:gd name="connsiteX4" fmla="*/ 0 w 1072637"/>
              <a:gd name="connsiteY4" fmla="*/ 0 h 365760"/>
              <a:gd name="connsiteX0" fmla="*/ 0 w 1072637"/>
              <a:gd name="connsiteY0" fmla="*/ 0 h 366744"/>
              <a:gd name="connsiteX1" fmla="*/ 1072637 w 1072637"/>
              <a:gd name="connsiteY1" fmla="*/ 0 h 366744"/>
              <a:gd name="connsiteX2" fmla="*/ 1072637 w 1072637"/>
              <a:gd name="connsiteY2" fmla="*/ 365760 h 366744"/>
              <a:gd name="connsiteX3" fmla="*/ 530941 w 1072637"/>
              <a:gd name="connsiteY3" fmla="*/ 366744 h 366744"/>
              <a:gd name="connsiteX4" fmla="*/ 0 w 1072637"/>
              <a:gd name="connsiteY4" fmla="*/ 365760 h 366744"/>
              <a:gd name="connsiteX5" fmla="*/ 0 w 1072637"/>
              <a:gd name="connsiteY5" fmla="*/ 0 h 366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2637" h="366744">
                <a:moveTo>
                  <a:pt x="0" y="0"/>
                </a:moveTo>
                <a:lnTo>
                  <a:pt x="1072637" y="0"/>
                </a:lnTo>
                <a:lnTo>
                  <a:pt x="1072637" y="365760"/>
                </a:lnTo>
                <a:lnTo>
                  <a:pt x="530941" y="366744"/>
                </a:lnTo>
                <a:lnTo>
                  <a:pt x="0" y="365760"/>
                </a:lnTo>
                <a:lnTo>
                  <a:pt x="0" y="0"/>
                </a:lnTo>
                <a:close/>
              </a:path>
            </a:pathLst>
          </a:custGeom>
          <a:noFill/>
          <a:ln w="12700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18774F-4BD0-7E38-FBF7-89FA6F9B04F6}"/>
              </a:ext>
            </a:extLst>
          </p:cNvPr>
          <p:cNvCxnSpPr>
            <a:cxnSpLocks/>
            <a:stCxn id="8" idx="3"/>
            <a:endCxn id="15" idx="3"/>
          </p:cNvCxnSpPr>
          <p:nvPr/>
        </p:nvCxnSpPr>
        <p:spPr bwMode="auto">
          <a:xfrm flipH="1" flipV="1">
            <a:off x="5498198" y="1532702"/>
            <a:ext cx="2737301" cy="12501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63604-F1B5-7971-9583-7F1AE79362E0}"/>
              </a:ext>
            </a:extLst>
          </p:cNvPr>
          <p:cNvSpPr/>
          <p:nvPr/>
        </p:nvSpPr>
        <p:spPr bwMode="auto">
          <a:xfrm>
            <a:off x="3810983" y="1474347"/>
            <a:ext cx="1687215" cy="295459"/>
          </a:xfrm>
          <a:prstGeom prst="rect">
            <a:avLst/>
          </a:prstGeom>
          <a:noFill/>
          <a:ln w="12700" cap="flat" cmpd="sng" algn="ctr">
            <a:solidFill>
              <a:schemeClr val="accent6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3B28D1-2E6E-84FB-9452-7DD47E327F42}"/>
              </a:ext>
            </a:extLst>
          </p:cNvPr>
          <p:cNvSpPr txBox="1"/>
          <p:nvPr/>
        </p:nvSpPr>
        <p:spPr>
          <a:xfrm>
            <a:off x="3810983" y="1474347"/>
            <a:ext cx="1687215" cy="300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900" dirty="0"/>
              <a:t>添加完所有必要信息后，点击</a:t>
            </a:r>
            <a:r>
              <a:rPr lang="en-US" sz="900" dirty="0"/>
              <a:t>“Release”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62DADB6-FB7C-ED25-26E9-3CE5777765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127873"/>
            <a:ext cx="9144000" cy="117748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3DCEC31-2658-5059-8072-651D0B4375DB}"/>
              </a:ext>
            </a:extLst>
          </p:cNvPr>
          <p:cNvSpPr/>
          <p:nvPr/>
        </p:nvSpPr>
        <p:spPr bwMode="auto">
          <a:xfrm>
            <a:off x="3639902" y="3260117"/>
            <a:ext cx="1922698" cy="53906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tx1"/>
                </a:solidFill>
              </a:rPr>
              <a:t>订单将被发布，然后用户将被引导到 </a:t>
            </a:r>
            <a:r>
              <a:rPr lang="en-US" sz="900" dirty="0">
                <a:solidFill>
                  <a:schemeClr val="tx1"/>
                </a:solidFill>
              </a:rPr>
              <a:t>Order Listing </a:t>
            </a:r>
            <a:r>
              <a:rPr lang="zh-CN" altLang="en-US" sz="900" dirty="0">
                <a:solidFill>
                  <a:schemeClr val="tx1"/>
                </a:solidFill>
              </a:rPr>
              <a:t>页面，并传输到</a:t>
            </a:r>
            <a:r>
              <a:rPr lang="en-US" altLang="zh-CN" sz="900" dirty="0">
                <a:solidFill>
                  <a:schemeClr val="tx1"/>
                </a:solidFill>
              </a:rPr>
              <a:t>OTM</a:t>
            </a: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931615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F4428D-9A8F-5764-8CE9-FD3C64ECCD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50" y="969390"/>
            <a:ext cx="8604882" cy="18164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参考资料和备注 </a:t>
            </a:r>
            <a:r>
              <a:rPr lang="en-US" altLang="zh-CN" dirty="0"/>
              <a:t>- </a:t>
            </a:r>
            <a:r>
              <a:rPr lang="zh-CN" altLang="en-US" dirty="0"/>
              <a:t>特别说明</a:t>
            </a:r>
            <a:r>
              <a:rPr lang="en-US" altLang="zh-CN" dirty="0"/>
              <a:t>:</a:t>
            </a:r>
            <a:br>
              <a:rPr lang="en-US" dirty="0"/>
            </a:br>
            <a:r>
              <a:rPr lang="en-US" dirty="0"/>
              <a:t>References and Remarks- Special Instructions: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0" name="Line Callout 1 11">
            <a:extLst>
              <a:ext uri="{FF2B5EF4-FFF2-40B4-BE49-F238E27FC236}">
                <a16:creationId xmlns:a16="http://schemas.microsoft.com/office/drawing/2014/main" id="{A1F85C50-6041-4C58-B627-F9DD8000BA0D}"/>
              </a:ext>
            </a:extLst>
          </p:cNvPr>
          <p:cNvSpPr/>
          <p:nvPr/>
        </p:nvSpPr>
        <p:spPr bwMode="auto">
          <a:xfrm>
            <a:off x="1779504" y="3248892"/>
            <a:ext cx="1005840" cy="466043"/>
          </a:xfrm>
          <a:prstGeom prst="borderCallout1">
            <a:avLst>
              <a:gd name="adj1" fmla="val -1687"/>
              <a:gd name="adj2" fmla="val 47636"/>
              <a:gd name="adj3" fmla="val -102638"/>
              <a:gd name="adj4" fmla="val -41452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Orders</a:t>
            </a: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00" i="0" u="none" strike="noStrike" cap="none" normalizeH="0" baseline="0" dirty="0">
                <a:ln>
                  <a:noFill/>
                </a:ln>
                <a:effectLst/>
              </a:rPr>
              <a:t>在此查找已发布的订单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B9A5ED-E565-4EF2-A52C-78197A291340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A3594C-0016-1C74-750B-2BDE133D5695}"/>
              </a:ext>
            </a:extLst>
          </p:cNvPr>
          <p:cNvSpPr/>
          <p:nvPr/>
        </p:nvSpPr>
        <p:spPr bwMode="auto">
          <a:xfrm>
            <a:off x="182880" y="3023616"/>
            <a:ext cx="1487424" cy="871728"/>
          </a:xfrm>
          <a:prstGeom prst="round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E187B9-CB80-60E6-DAA7-213F21939899}"/>
              </a:ext>
            </a:extLst>
          </p:cNvPr>
          <p:cNvSpPr/>
          <p:nvPr/>
        </p:nvSpPr>
        <p:spPr bwMode="auto">
          <a:xfrm>
            <a:off x="323850" y="3023616"/>
            <a:ext cx="1248918" cy="1393550"/>
          </a:xfrm>
          <a:prstGeom prst="round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BB501F-576F-B450-3B06-2CE502249582}"/>
              </a:ext>
            </a:extLst>
          </p:cNvPr>
          <p:cNvSpPr txBox="1"/>
          <p:nvPr/>
        </p:nvSpPr>
        <p:spPr>
          <a:xfrm>
            <a:off x="414000" y="3088546"/>
            <a:ext cx="1110000" cy="12527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900" dirty="0"/>
              <a:t>状况：</a:t>
            </a:r>
            <a:endParaRPr lang="en-US" sz="9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900" dirty="0">
                <a:solidFill>
                  <a:srgbClr val="00B050"/>
                </a:solidFill>
              </a:rPr>
              <a:t>绿色：</a:t>
            </a:r>
            <a:r>
              <a:rPr lang="zh-CN" altLang="en-US" sz="900" dirty="0"/>
              <a:t>订单已在装运时确认</a:t>
            </a:r>
            <a:endParaRPr lang="en-US" sz="9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900" b="1" dirty="0">
                <a:solidFill>
                  <a:srgbClr val="FFCC00"/>
                </a:solidFill>
              </a:rPr>
              <a:t>黄色：</a:t>
            </a:r>
            <a:r>
              <a:rPr lang="zh-CN" altLang="en-US" sz="900" dirty="0"/>
              <a:t>订单已发布，正在计划中</a:t>
            </a:r>
            <a:endParaRPr lang="en-US" altLang="zh-CN" sz="9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900" b="1" dirty="0">
                <a:solidFill>
                  <a:schemeClr val="accent6">
                    <a:lumMod val="50000"/>
                  </a:schemeClr>
                </a:solidFill>
              </a:rPr>
              <a:t>灰色</a:t>
            </a:r>
            <a:r>
              <a:rPr lang="zh-CN" altLang="en-US" sz="900" dirty="0"/>
              <a:t>：等待发布的新订单</a:t>
            </a:r>
            <a:endParaRPr lang="en-US" sz="9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9A2460-4C77-708B-84EC-9BD262888BA2}"/>
              </a:ext>
            </a:extLst>
          </p:cNvPr>
          <p:cNvCxnSpPr>
            <a:stCxn id="7" idx="0"/>
          </p:cNvCxnSpPr>
          <p:nvPr/>
        </p:nvCxnSpPr>
        <p:spPr bwMode="auto">
          <a:xfrm flipH="1" flipV="1">
            <a:off x="755904" y="2737104"/>
            <a:ext cx="192405" cy="286512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400332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C2ABCD5-A7F9-BF21-1871-DE41417C3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112" y="1344048"/>
            <a:ext cx="9144000" cy="1390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采购订单</a:t>
            </a:r>
            <a:r>
              <a:rPr lang="en-US" altLang="zh-CN" dirty="0"/>
              <a:t>-</a:t>
            </a:r>
            <a:r>
              <a:rPr lang="zh-CN" altLang="en-US" dirty="0"/>
              <a:t>列表排序</a:t>
            </a:r>
            <a:br>
              <a:rPr lang="en-US" dirty="0"/>
            </a:br>
            <a:r>
              <a:rPr lang="en-US" dirty="0"/>
              <a:t>(Purchase Orders- Sorting of Lists</a:t>
            </a:r>
            <a:r>
              <a:rPr lang="en-US" altLang="zh-CN" dirty="0"/>
              <a:t>)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57415" y="1357118"/>
            <a:ext cx="968693" cy="15321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215513" y="1003532"/>
            <a:ext cx="2609580" cy="3144451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endParaRPr lang="zh-CN" altLang="en-US" sz="1100" dirty="0"/>
          </a:p>
          <a:p>
            <a:pPr marL="133350" indent="-1333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zh-CN" altLang="en-US" sz="1100" dirty="0"/>
              <a:t>用户可以更改“采购订单”和“订单列表”屏幕上的默认排序</a:t>
            </a:r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zh-CN" altLang="en-US" sz="1100" b="1" dirty="0"/>
              <a:t>采购订单 </a:t>
            </a:r>
            <a:r>
              <a:rPr lang="en-US" altLang="zh-CN" sz="1100" dirty="0"/>
              <a:t>- </a:t>
            </a:r>
            <a:r>
              <a:rPr lang="zh-CN" altLang="en-US" sz="1100" b="1" dirty="0"/>
              <a:t>按交货日期升序</a:t>
            </a:r>
            <a:r>
              <a:rPr lang="zh-CN" altLang="en-US" sz="1100" dirty="0"/>
              <a:t>排序</a:t>
            </a:r>
            <a:r>
              <a:rPr lang="zh-CN" altLang="en-US" sz="1100" b="1" dirty="0"/>
              <a:t>（最早的第一个）</a:t>
            </a:r>
            <a:endParaRPr lang="en-GB" sz="1100" b="1" dirty="0"/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zh-CN" altLang="en-US" sz="1100" b="1" dirty="0"/>
              <a:t>订单列表 </a:t>
            </a:r>
            <a:r>
              <a:rPr lang="en-US" altLang="zh-CN" sz="1100" dirty="0"/>
              <a:t>- </a:t>
            </a:r>
            <a:r>
              <a:rPr lang="zh-CN" altLang="en-US" sz="1100" b="1" dirty="0"/>
              <a:t>按取货日期降序</a:t>
            </a:r>
            <a:r>
              <a:rPr lang="zh-CN" altLang="en-US" sz="1100" dirty="0"/>
              <a:t>排序</a:t>
            </a:r>
            <a:r>
              <a:rPr lang="zh-CN" altLang="en-US" sz="1100" b="1" dirty="0"/>
              <a:t>（最新优先）</a:t>
            </a:r>
            <a:endParaRPr lang="en-GB" sz="1100" b="1" dirty="0"/>
          </a:p>
          <a:p>
            <a:pPr>
              <a:spcAft>
                <a:spcPts val="450"/>
              </a:spcAft>
            </a:pPr>
            <a:endParaRPr lang="en-US" sz="1100" dirty="0"/>
          </a:p>
          <a:p>
            <a:pPr marL="133350" indent="-1333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zh-CN" altLang="en-US" sz="1100" dirty="0"/>
              <a:t>要是有就好</a:t>
            </a:r>
            <a:r>
              <a:rPr lang="en-US" altLang="zh-CN" sz="1100" dirty="0"/>
              <a:t>- </a:t>
            </a:r>
            <a:r>
              <a:rPr lang="zh-CN" altLang="en-US" sz="1100" dirty="0"/>
              <a:t>用户可以通过单击列标题来更改排序</a:t>
            </a:r>
            <a:endParaRPr lang="en-US" sz="1100" dirty="0"/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zh-CN" altLang="en-US" sz="1100" dirty="0"/>
              <a:t>单击列标题可按列升序对列表进行排序</a:t>
            </a:r>
            <a:endParaRPr lang="en-GB" sz="1100" dirty="0"/>
          </a:p>
          <a:p>
            <a:pPr marL="296466" lvl="1" indent="-122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zh-CN" altLang="en-US" sz="1100" dirty="0"/>
              <a:t>再次单击同一列标题可切换类型排序</a:t>
            </a:r>
            <a:r>
              <a:rPr lang="en-US" altLang="zh-CN" sz="1100" dirty="0"/>
              <a:t>-</a:t>
            </a:r>
            <a:r>
              <a:rPr lang="zh-CN" altLang="en-US" sz="1100" dirty="0"/>
              <a:t>升序与降序</a:t>
            </a:r>
            <a:endParaRPr lang="en-US" altLang="zh-CN" sz="1100" dirty="0"/>
          </a:p>
          <a:p>
            <a:pPr marL="173831" lvl="1">
              <a:spcAft>
                <a:spcPts val="450"/>
              </a:spcAft>
            </a:pPr>
            <a:endParaRPr lang="en-US" sz="11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8760" y="1370929"/>
            <a:ext cx="121444" cy="157163"/>
          </a:xfrm>
          <a:prstGeom prst="rect">
            <a:avLst/>
          </a:prstGeom>
        </p:spPr>
      </p:pic>
      <p:sp>
        <p:nvSpPr>
          <p:cNvPr id="20" name="Rounded Rectangle 19"/>
          <p:cNvSpPr/>
          <p:nvPr/>
        </p:nvSpPr>
        <p:spPr bwMode="auto">
          <a:xfrm>
            <a:off x="3125559" y="1348405"/>
            <a:ext cx="131856" cy="161925"/>
          </a:xfrm>
          <a:prstGeom prst="roundRect">
            <a:avLst/>
          </a:prstGeom>
          <a:noFill/>
          <a:ln w="28575"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 defTabSz="74652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642B76-7491-425E-9C9B-245A214FDBDE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24148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D7CE2F-2EF3-D770-46A0-16156F85F2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4379" y="933823"/>
            <a:ext cx="4525426" cy="19011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9896" y="3210510"/>
            <a:ext cx="3816716" cy="5850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审核 </a:t>
            </a:r>
            <a:r>
              <a:rPr lang="en-US" altLang="zh-CN" dirty="0"/>
              <a:t>- </a:t>
            </a:r>
            <a:r>
              <a:rPr lang="zh-CN" altLang="en-US" dirty="0"/>
              <a:t>详细信息</a:t>
            </a:r>
            <a:br>
              <a:rPr lang="en-US" dirty="0"/>
            </a:br>
            <a:r>
              <a:rPr lang="en-US" dirty="0"/>
              <a:t>Order Review - Detail</a:t>
            </a: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29" name="Line Callout 1 28"/>
          <p:cNvSpPr/>
          <p:nvPr/>
        </p:nvSpPr>
        <p:spPr bwMode="auto">
          <a:xfrm>
            <a:off x="414000" y="3703201"/>
            <a:ext cx="2100786" cy="184705"/>
          </a:xfrm>
          <a:prstGeom prst="borderCallout1">
            <a:avLst>
              <a:gd name="adj1" fmla="val 50634"/>
              <a:gd name="adj2" fmla="val 100363"/>
              <a:gd name="adj3" fmla="val 44314"/>
              <a:gd name="adj4" fmla="val 15960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b="1" dirty="0"/>
              <a:t>订单明细</a:t>
            </a:r>
            <a:endParaRPr lang="en-US" sz="900" b="1" dirty="0">
              <a:solidFill>
                <a:schemeClr val="accent4"/>
              </a:solidFill>
            </a:endParaRPr>
          </a:p>
        </p:txBody>
      </p:sp>
      <p:sp>
        <p:nvSpPr>
          <p:cNvPr id="34" name="Right Bracket 33"/>
          <p:cNvSpPr/>
          <p:nvPr/>
        </p:nvSpPr>
        <p:spPr bwMode="auto">
          <a:xfrm flipH="1">
            <a:off x="3773295" y="2870807"/>
            <a:ext cx="73996" cy="1521554"/>
          </a:xfrm>
          <a:prstGeom prst="rightBracke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17C7ACB-DB9F-4A37-8245-A06FD1B0AC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601" t="14337" r="21772" b="62082"/>
          <a:stretch/>
        </p:blipFill>
        <p:spPr>
          <a:xfrm>
            <a:off x="4088275" y="417231"/>
            <a:ext cx="431870" cy="40655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5E8A814-4EC9-440D-97F5-ABADDD1C47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447" t="58977" r="22925" b="15391"/>
          <a:stretch/>
        </p:blipFill>
        <p:spPr>
          <a:xfrm>
            <a:off x="6044712" y="389327"/>
            <a:ext cx="431870" cy="4418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B9C934E-60C0-479A-8B8A-61043259E0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615" t="23418" r="28297" b="26099"/>
          <a:stretch/>
        </p:blipFill>
        <p:spPr>
          <a:xfrm>
            <a:off x="7740235" y="431881"/>
            <a:ext cx="399020" cy="399106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5598D7B-0379-4786-88DD-E2C030CFEE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77674" y="142641"/>
            <a:ext cx="1130388" cy="291870"/>
          </a:xfrm>
        </p:spPr>
        <p:txBody>
          <a:bodyPr/>
          <a:lstStyle/>
          <a:p>
            <a:pPr algn="ctr"/>
            <a:r>
              <a:rPr lang="zh-CN" altLang="en-US" sz="900" dirty="0"/>
              <a:t>已确认状态：</a:t>
            </a:r>
            <a:br>
              <a:rPr lang="en-US" altLang="zh-CN" sz="900" dirty="0"/>
            </a:br>
            <a:r>
              <a:rPr lang="zh-CN" altLang="en-US" sz="900" dirty="0"/>
              <a:t>订单已发货。</a:t>
            </a:r>
            <a:endParaRPr lang="en-US" sz="9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E7855BD-17D4-44B8-8D6E-C8539F24102B}"/>
              </a:ext>
            </a:extLst>
          </p:cNvPr>
          <p:cNvSpPr txBox="1"/>
          <p:nvPr/>
        </p:nvSpPr>
        <p:spPr>
          <a:xfrm>
            <a:off x="3473894" y="65179"/>
            <a:ext cx="1700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900" dirty="0"/>
              <a:t>创建状态：订单已输入</a:t>
            </a:r>
            <a:r>
              <a:rPr lang="en-US" altLang="zh-CN" sz="900" dirty="0"/>
              <a:t>TOP</a:t>
            </a:r>
            <a:r>
              <a:rPr lang="zh-CN" altLang="en-US" sz="900" dirty="0"/>
              <a:t>门户。这些订单仍然可以更新。</a:t>
            </a:r>
            <a:endParaRPr lang="en-US" sz="9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7135521-96A9-4784-B61B-496D7C276B0C}"/>
              </a:ext>
            </a:extLst>
          </p:cNvPr>
          <p:cNvSpPr txBox="1"/>
          <p:nvPr/>
        </p:nvSpPr>
        <p:spPr>
          <a:xfrm>
            <a:off x="5514175" y="65179"/>
            <a:ext cx="15555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900" dirty="0"/>
              <a:t>计划状态：订单已在</a:t>
            </a:r>
            <a:r>
              <a:rPr lang="en-US" altLang="zh-CN" sz="900" dirty="0"/>
              <a:t>OTM</a:t>
            </a:r>
            <a:r>
              <a:rPr lang="zh-CN" altLang="en-US" sz="900" dirty="0"/>
              <a:t>中计划。订单无法更新。</a:t>
            </a:r>
            <a:endParaRPr lang="en-US" sz="90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8F49490-9676-406D-9AB3-2ED46C6E9A5A}"/>
              </a:ext>
            </a:extLst>
          </p:cNvPr>
          <p:cNvCxnSpPr>
            <a:cxnSpLocks/>
            <a:endCxn id="2" idx="2"/>
          </p:cNvCxnSpPr>
          <p:nvPr/>
        </p:nvCxnSpPr>
        <p:spPr bwMode="auto">
          <a:xfrm flipH="1" flipV="1">
            <a:off x="4572000" y="806450"/>
            <a:ext cx="1848572" cy="707869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92C80B2-46FA-4579-9338-4D72C0129FA2}"/>
              </a:ext>
            </a:extLst>
          </p:cNvPr>
          <p:cNvCxnSpPr>
            <a:cxnSpLocks/>
            <a:endCxn id="20" idx="2"/>
          </p:cNvCxnSpPr>
          <p:nvPr/>
        </p:nvCxnSpPr>
        <p:spPr bwMode="auto">
          <a:xfrm flipH="1" flipV="1">
            <a:off x="6260647" y="831223"/>
            <a:ext cx="1063947" cy="683096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5FBE17F-1442-484A-8469-AB879DFEA86B}"/>
              </a:ext>
            </a:extLst>
          </p:cNvPr>
          <p:cNvCxnSpPr>
            <a:cxnSpLocks/>
            <a:endCxn id="21" idx="2"/>
          </p:cNvCxnSpPr>
          <p:nvPr/>
        </p:nvCxnSpPr>
        <p:spPr bwMode="auto">
          <a:xfrm flipH="1" flipV="1">
            <a:off x="7939745" y="830987"/>
            <a:ext cx="206247" cy="683214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0BADE2A1-B789-443B-A753-3DD86A8A49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9" t="-2731" r="59605" b="2731"/>
          <a:stretch/>
        </p:blipFill>
        <p:spPr>
          <a:xfrm>
            <a:off x="1026302" y="1590044"/>
            <a:ext cx="1644503" cy="640255"/>
          </a:xfrm>
          <a:prstGeom prst="rect">
            <a:avLst/>
          </a:prstGeom>
        </p:spPr>
      </p:pic>
      <p:sp>
        <p:nvSpPr>
          <p:cNvPr id="40" name="Rounded Rectangular Callout 7">
            <a:extLst>
              <a:ext uri="{FF2B5EF4-FFF2-40B4-BE49-F238E27FC236}">
                <a16:creationId xmlns:a16="http://schemas.microsoft.com/office/drawing/2014/main" id="{94B873AB-E919-4EF3-A569-D2E9C3D44AE0}"/>
              </a:ext>
            </a:extLst>
          </p:cNvPr>
          <p:cNvSpPr/>
          <p:nvPr/>
        </p:nvSpPr>
        <p:spPr bwMode="auto">
          <a:xfrm>
            <a:off x="785036" y="1635426"/>
            <a:ext cx="2078182" cy="634697"/>
          </a:xfrm>
          <a:prstGeom prst="wedgeRoundRectCallout">
            <a:avLst>
              <a:gd name="adj1" fmla="val 102890"/>
              <a:gd name="adj2" fmla="val 45279"/>
              <a:gd name="adj3" fmla="val 1666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FA2EAED-CAAF-4E83-BCAA-CFE2D9CD31E9}"/>
              </a:ext>
            </a:extLst>
          </p:cNvPr>
          <p:cNvSpPr txBox="1"/>
          <p:nvPr/>
        </p:nvSpPr>
        <p:spPr>
          <a:xfrm>
            <a:off x="684195" y="977412"/>
            <a:ext cx="217902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1050" b="1" dirty="0"/>
              <a:t>发货详细信息</a:t>
            </a:r>
            <a:r>
              <a:rPr lang="zh-CN" altLang="en-US" sz="1050" dirty="0"/>
              <a:t>：一旦计划发货，发货</a:t>
            </a:r>
            <a:r>
              <a:rPr lang="en-US" altLang="zh-CN" sz="1050" dirty="0"/>
              <a:t>ID</a:t>
            </a:r>
            <a:r>
              <a:rPr lang="zh-CN" altLang="en-US" sz="1050" dirty="0"/>
              <a:t>和承运人将填充在此处。</a:t>
            </a:r>
            <a:endParaRPr lang="en-US" sz="105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0C342B7-5D30-4A28-A918-7C8A77C9A07B}"/>
              </a:ext>
            </a:extLst>
          </p:cNvPr>
          <p:cNvSpPr txBox="1"/>
          <p:nvPr/>
        </p:nvSpPr>
        <p:spPr>
          <a:xfrm>
            <a:off x="277196" y="2319895"/>
            <a:ext cx="319669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1050" dirty="0"/>
              <a:t>一旦承运人通过</a:t>
            </a:r>
            <a:r>
              <a:rPr lang="en-US" altLang="zh-CN" sz="1050" dirty="0"/>
              <a:t>DHL</a:t>
            </a:r>
            <a:r>
              <a:rPr lang="zh-CN" altLang="en-US" sz="1050" dirty="0"/>
              <a:t>运输管理系统计划并确认订单，承运人 </a:t>
            </a:r>
            <a:r>
              <a:rPr lang="en-US" altLang="zh-CN" sz="1050" dirty="0"/>
              <a:t>SCAC </a:t>
            </a:r>
            <a:r>
              <a:rPr lang="zh-CN" altLang="en-US" sz="1050" dirty="0"/>
              <a:t>和装运 </a:t>
            </a:r>
            <a:r>
              <a:rPr lang="en-US" altLang="zh-CN" sz="1050" dirty="0"/>
              <a:t>ID</a:t>
            </a:r>
            <a:r>
              <a:rPr lang="zh-CN" altLang="en-US" sz="1050" dirty="0"/>
              <a:t>（</a:t>
            </a:r>
            <a:r>
              <a:rPr lang="en-US" altLang="zh-CN" sz="1050" dirty="0"/>
              <a:t>SID#</a:t>
            </a:r>
            <a:r>
              <a:rPr lang="zh-CN" altLang="en-US" sz="1050" dirty="0"/>
              <a:t>）将填充在装运下</a:t>
            </a:r>
            <a:endParaRPr lang="en-US" sz="105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F10FAED-19BE-4095-A12C-D2B838E127A5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F607CF0-C16F-AA9E-AF56-CC08696B06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4379" y="2862016"/>
            <a:ext cx="4525426" cy="9335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C72D40C-1A42-8374-7D51-3CBF69D8CE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4379" y="3840478"/>
            <a:ext cx="4620517" cy="647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5441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ED1F3E4-227F-A8A0-D325-3C112A96B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1659" y="937810"/>
            <a:ext cx="3928970" cy="11296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审核 </a:t>
            </a:r>
            <a:r>
              <a:rPr lang="en-US" altLang="zh-CN" dirty="0"/>
              <a:t>- </a:t>
            </a:r>
            <a:r>
              <a:rPr lang="zh-CN" altLang="en-US" dirty="0"/>
              <a:t>详细信息</a:t>
            </a:r>
            <a:br>
              <a:rPr lang="en-US" dirty="0"/>
            </a:br>
            <a:r>
              <a:rPr lang="en-US" dirty="0"/>
              <a:t>Order Review - Detail</a:t>
            </a: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19" name="Line Callout 1 18"/>
          <p:cNvSpPr/>
          <p:nvPr/>
        </p:nvSpPr>
        <p:spPr bwMode="auto">
          <a:xfrm>
            <a:off x="6634843" y="947459"/>
            <a:ext cx="2182243" cy="554770"/>
          </a:xfrm>
          <a:prstGeom prst="borderCallout1">
            <a:avLst>
              <a:gd name="adj1" fmla="val 52069"/>
              <a:gd name="adj2" fmla="val -3"/>
              <a:gd name="adj3" fmla="val 30156"/>
              <a:gd name="adj4" fmla="val -2901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3)</a:t>
            </a:r>
            <a:r>
              <a:rPr lang="en-US" sz="900" dirty="0"/>
              <a:t> </a:t>
            </a:r>
            <a:r>
              <a:rPr lang="zh-CN" altLang="en-US" sz="900" dirty="0"/>
              <a:t>要完成更改，请单击 “保存”。您将被重定向到 “订单摘要” 屏幕，并在屏幕底部收到确认 </a:t>
            </a:r>
            <a:r>
              <a:rPr lang="en-US" sz="900" dirty="0"/>
              <a:t>: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21" name="Line Callout 1 20"/>
          <p:cNvSpPr/>
          <p:nvPr/>
        </p:nvSpPr>
        <p:spPr bwMode="auto">
          <a:xfrm>
            <a:off x="414001" y="1268462"/>
            <a:ext cx="1302060" cy="643093"/>
          </a:xfrm>
          <a:prstGeom prst="borderCallout1">
            <a:avLst>
              <a:gd name="adj1" fmla="val 50634"/>
              <a:gd name="adj2" fmla="val 100363"/>
              <a:gd name="adj3" fmla="val 14956"/>
              <a:gd name="adj4" fmla="val 293252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1)</a:t>
            </a:r>
            <a:r>
              <a:rPr lang="en-US" sz="900" dirty="0"/>
              <a:t> </a:t>
            </a:r>
            <a:r>
              <a:rPr lang="zh-CN" altLang="en-US" sz="900" dirty="0"/>
              <a:t>只有在处于 “已创建” 状态且没有装运或承运人分配时，才能编辑订单</a:t>
            </a:r>
            <a:endParaRPr kumimoji="0" lang="en-US" sz="9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cxnSp>
        <p:nvCxnSpPr>
          <p:cNvPr id="4" name="Straight Connector 3"/>
          <p:cNvCxnSpPr>
            <a:cxnSpLocks/>
            <a:stCxn id="21" idx="0"/>
          </p:cNvCxnSpPr>
          <p:nvPr/>
        </p:nvCxnSpPr>
        <p:spPr bwMode="auto">
          <a:xfrm>
            <a:off x="1716061" y="1590009"/>
            <a:ext cx="667910" cy="119764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972" y="1544574"/>
            <a:ext cx="1941028" cy="425664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3B4F614-7EF5-4FF0-889E-6F8F03993411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8" name="Line Callout 1 19">
            <a:extLst>
              <a:ext uri="{FF2B5EF4-FFF2-40B4-BE49-F238E27FC236}">
                <a16:creationId xmlns:a16="http://schemas.microsoft.com/office/drawing/2014/main" id="{7BF30A18-711E-4C52-8335-9FC90123B67D}"/>
              </a:ext>
            </a:extLst>
          </p:cNvPr>
          <p:cNvSpPr/>
          <p:nvPr/>
        </p:nvSpPr>
        <p:spPr bwMode="auto">
          <a:xfrm>
            <a:off x="414000" y="1945907"/>
            <a:ext cx="2582412" cy="2542208"/>
          </a:xfrm>
          <a:prstGeom prst="borderCallout1">
            <a:avLst>
              <a:gd name="adj1" fmla="val 43591"/>
              <a:gd name="adj2" fmla="val 122147"/>
              <a:gd name="adj3" fmla="val 38703"/>
              <a:gd name="adj4" fmla="val 100574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50" b="1">
                <a:solidFill>
                  <a:schemeClr val="accent4"/>
                </a:solidFill>
              </a:rPr>
              <a:t>2) </a:t>
            </a:r>
            <a:r>
              <a:rPr lang="zh-CN" altLang="en-US" sz="1050" b="1">
                <a:solidFill>
                  <a:schemeClr val="accent4"/>
                </a:solidFill>
              </a:rPr>
              <a:t>订单明细修改</a:t>
            </a:r>
            <a:endParaRPr lang="en-US" sz="700">
              <a:solidFill>
                <a:schemeClr val="accent4"/>
              </a:solidFill>
            </a:endParaRPr>
          </a:p>
          <a:p>
            <a:pPr marL="171450" marR="0" indent="-171450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zh-CN" altLang="en-US" sz="800" b="1"/>
              <a:t>以下的内容可以编辑：</a:t>
            </a:r>
            <a:endParaRPr lang="en-US" sz="800" b="1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采购订单 （</a:t>
            </a:r>
            <a:r>
              <a:rPr lang="en-US" sz="800"/>
              <a:t>Purchase Order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预计取货日期（</a:t>
            </a:r>
            <a:r>
              <a:rPr lang="en-US" sz="800"/>
              <a:t>Expected Pick up Date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托盘计数 （</a:t>
            </a:r>
            <a:r>
              <a:rPr lang="en-US" sz="800"/>
              <a:t>Pallet Count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长度 （</a:t>
            </a:r>
            <a:r>
              <a:rPr lang="en-US" sz="800"/>
              <a:t>Length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宽度 （</a:t>
            </a:r>
            <a:r>
              <a:rPr lang="en-US" sz="800"/>
              <a:t>Width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高度 （</a:t>
            </a:r>
            <a:r>
              <a:rPr lang="en-US" sz="800"/>
              <a:t>Height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可堆叠 （</a:t>
            </a:r>
            <a:r>
              <a:rPr lang="en-US" sz="800"/>
              <a:t>Stackable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重量 （</a:t>
            </a:r>
            <a:r>
              <a:rPr lang="en-US" sz="800"/>
              <a:t>Weight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温度控制 （</a:t>
            </a:r>
            <a:r>
              <a:rPr lang="en-US" sz="800"/>
              <a:t>Temperature Control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危险装运 （</a:t>
            </a:r>
            <a:r>
              <a:rPr lang="en-US" sz="800"/>
              <a:t>Hazardous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特别说明 （</a:t>
            </a:r>
            <a:r>
              <a:rPr lang="en-US" sz="800"/>
              <a:t>Special Instructions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申报价值 （</a:t>
            </a:r>
            <a:r>
              <a:rPr lang="en-US" sz="800"/>
              <a:t>Declared Value 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集装箱 </a:t>
            </a:r>
            <a:r>
              <a:rPr lang="en-US" altLang="zh-CN" sz="800"/>
              <a:t># </a:t>
            </a:r>
            <a:r>
              <a:rPr lang="zh-CN" altLang="en-US" sz="800"/>
              <a:t>（</a:t>
            </a:r>
            <a:r>
              <a:rPr lang="en-US" sz="800"/>
              <a:t>Container #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项目说明 （</a:t>
            </a:r>
            <a:r>
              <a:rPr lang="en-US" sz="800"/>
              <a:t>Item Description</a:t>
            </a:r>
            <a:r>
              <a:rPr lang="zh-CN" altLang="en-US" sz="800"/>
              <a:t>）</a:t>
            </a:r>
            <a:endParaRPr lang="en-US" sz="800"/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车辆类型 （</a:t>
            </a:r>
            <a:r>
              <a:rPr lang="en-US" sz="800"/>
              <a:t>Vehicle Type)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最高温度 （</a:t>
            </a:r>
            <a:r>
              <a:rPr lang="en-US" sz="800"/>
              <a:t>Max Temp)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最小温度 （</a:t>
            </a:r>
            <a:r>
              <a:rPr lang="en-US" sz="800"/>
              <a:t>Min Temp)</a:t>
            </a:r>
          </a:p>
          <a:p>
            <a:pPr marL="628650" lvl="1" indent="-171450" defTabSz="995363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zh-CN" altLang="en-US" sz="800"/>
              <a:t>防止冻结 （</a:t>
            </a:r>
            <a:r>
              <a:rPr lang="en-US" sz="800"/>
              <a:t>Protect From Freeze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67CB5BF-CB9A-F8F0-E5EE-7EF7A2F84E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2106" y="2468476"/>
            <a:ext cx="4153858" cy="187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384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F2E57-1078-4CD8-823C-F1BE9ED38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573" y="195135"/>
            <a:ext cx="1657407" cy="496428"/>
          </a:xfrm>
        </p:spPr>
        <p:txBody>
          <a:bodyPr/>
          <a:lstStyle/>
          <a:p>
            <a:pPr algn="ctr"/>
            <a:br>
              <a:rPr lang="es-MX" dirty="0"/>
            </a:br>
            <a:br>
              <a:rPr lang="es-MX" dirty="0"/>
            </a:br>
            <a:br>
              <a:rPr lang="es-MX" sz="1600" i="1" dirty="0"/>
            </a:br>
            <a:r>
              <a:rPr lang="zh-CN" altLang="en-US" sz="1600" i="1" dirty="0"/>
              <a:t>介绍</a:t>
            </a:r>
            <a:r>
              <a:rPr lang="es-MX" i="1" dirty="0"/>
              <a:t>INTRODU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A1547D-F99A-4023-A943-3CB5E2434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65C3CC-89D5-4B6A-AB70-4BCD38BBB174}"/>
              </a:ext>
            </a:extLst>
          </p:cNvPr>
          <p:cNvSpPr/>
          <p:nvPr/>
        </p:nvSpPr>
        <p:spPr bwMode="auto">
          <a:xfrm>
            <a:off x="-1" y="1"/>
            <a:ext cx="1255595" cy="93361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5" name="Picture 4" descr="A logo of a motorcycle company&#10;&#10;Description automatically generated">
            <a:extLst>
              <a:ext uri="{FF2B5EF4-FFF2-40B4-BE49-F238E27FC236}">
                <a16:creationId xmlns:a16="http://schemas.microsoft.com/office/drawing/2014/main" id="{3B34D372-D216-9680-A92B-E940A7FE5D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082" y="45090"/>
            <a:ext cx="1048512" cy="8434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91C4B2-D6C9-4193-EDAB-932621B20F35}"/>
              </a:ext>
            </a:extLst>
          </p:cNvPr>
          <p:cNvSpPr txBox="1"/>
          <p:nvPr/>
        </p:nvSpPr>
        <p:spPr>
          <a:xfrm flipH="1">
            <a:off x="533464" y="1426921"/>
            <a:ext cx="8157178" cy="2096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500"/>
              </a:spcAft>
              <a:defRPr sz="1200"/>
            </a:lvl1pPr>
          </a:lstStyle>
          <a:p>
            <a:pPr algn="just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Global LLP </a:t>
            </a:r>
            <a:r>
              <a:rPr lang="zh-CN" altLang="en-US" sz="1400" dirty="0"/>
              <a:t>是来支持四业务单位的哈雷戴维森： </a:t>
            </a:r>
            <a:r>
              <a:rPr lang="en-US" sz="1400" dirty="0"/>
              <a:t>I2M </a:t>
            </a:r>
            <a:r>
              <a:rPr lang="zh-CN" altLang="en-US" sz="1400" dirty="0"/>
              <a:t>汽車制造商 </a:t>
            </a:r>
            <a:r>
              <a:rPr lang="en-US" sz="1400" dirty="0"/>
              <a:t>, </a:t>
            </a:r>
            <a:r>
              <a:rPr lang="zh-CN" altLang="en-US" sz="1400" dirty="0"/>
              <a:t>摩托车</a:t>
            </a:r>
            <a:r>
              <a:rPr lang="en-US" sz="1400" dirty="0"/>
              <a:t>, </a:t>
            </a:r>
            <a:r>
              <a:rPr lang="zh-CN" altLang="en-US" sz="1400" dirty="0"/>
              <a:t>部件与配件</a:t>
            </a:r>
            <a:r>
              <a:rPr lang="en-US" altLang="zh-CN" sz="1400" dirty="0"/>
              <a:t>, </a:t>
            </a:r>
            <a:r>
              <a:rPr lang="zh-CN" altLang="en-US" sz="1400" dirty="0"/>
              <a:t>服饰与许可。</a:t>
            </a:r>
            <a:r>
              <a:rPr lang="en-US" sz="1400" dirty="0"/>
              <a:t> </a:t>
            </a:r>
            <a:r>
              <a:rPr lang="zh-CN" altLang="en-US" sz="1400" dirty="0"/>
              <a:t>主塔台是在利沃尼亚</a:t>
            </a:r>
            <a:r>
              <a:rPr lang="en-US" altLang="zh-CN" sz="1400" dirty="0"/>
              <a:t>(</a:t>
            </a:r>
            <a:r>
              <a:rPr lang="zh-CN" altLang="en-US" sz="1400" dirty="0"/>
              <a:t>美国密歇根州</a:t>
            </a:r>
            <a:r>
              <a:rPr lang="en-US" altLang="zh-CN" sz="1400" dirty="0"/>
              <a:t>)</a:t>
            </a:r>
            <a:r>
              <a:rPr lang="zh-CN" altLang="en-US" sz="1400" dirty="0"/>
              <a:t>也还有泰国当支持塔台。提供的服务包括控制塔台功能， 例如负载招标、跟踪和追踪、货运账单审核和支付、服饰和许可的材料管理、跟踪成本节省的运输优化、</a:t>
            </a:r>
            <a:r>
              <a:rPr lang="en-US" altLang="zh-CN" sz="1400" dirty="0"/>
              <a:t>KPI </a:t>
            </a:r>
            <a:r>
              <a:rPr lang="zh-CN" altLang="en-US" sz="1400" dirty="0"/>
              <a:t>跟踪、持续改进和问题解决。这些服务提供为美国国内和泰国的货运以及由哈雷付款的国际货运。美国和泰国控制塔之间计划进行紧急运输或升级跟进。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540807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999" y="1105199"/>
            <a:ext cx="6434475" cy="1350000"/>
          </a:xfrm>
        </p:spPr>
        <p:txBody>
          <a:bodyPr/>
          <a:lstStyle/>
          <a:p>
            <a:r>
              <a:rPr lang="zh-CN" altLang="en-US" dirty="0"/>
              <a:t>故障排除和提示</a:t>
            </a:r>
            <a:br>
              <a:rPr lang="en-US" dirty="0"/>
            </a:br>
            <a:r>
              <a:rPr lang="en-US"/>
              <a:t>Troubleshooting and tip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</p:spTree>
    <p:extLst>
      <p:ext uri="{BB962C8B-B14F-4D97-AF65-F5344CB8AC3E}">
        <p14:creationId xmlns:p14="http://schemas.microsoft.com/office/powerpoint/2010/main" val="1521521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故障排除和提示 </a:t>
            </a:r>
            <a:r>
              <a:rPr lang="en-US" dirty="0"/>
              <a:t>- </a:t>
            </a:r>
            <a:r>
              <a:rPr lang="en-US"/>
              <a:t>TOP </a:t>
            </a:r>
            <a:r>
              <a:rPr lang="zh-CN" altLang="en-US" dirty="0"/>
              <a:t>门户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4338" y="1038225"/>
            <a:ext cx="5245057" cy="2187575"/>
          </a:xfrm>
        </p:spPr>
        <p:txBody>
          <a:bodyPr/>
          <a:lstStyle/>
          <a:p>
            <a:r>
              <a:rPr lang="zh-CN" altLang="en-US" b="1" dirty="0"/>
              <a:t>一般提示和知识</a:t>
            </a:r>
            <a:endParaRPr lang="en-US" altLang="zh-CN" b="1" dirty="0"/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dirty="0"/>
              <a:t>如果您收到错误消息 “</a:t>
            </a:r>
            <a:r>
              <a:rPr lang="en-US" dirty="0"/>
              <a:t>We couldn‘t find the order you’re looking for </a:t>
            </a:r>
            <a:r>
              <a:rPr lang="zh-CN" altLang="en-US" dirty="0"/>
              <a:t>” 请重试，如果结果相同，</a:t>
            </a:r>
            <a:r>
              <a:rPr lang="zh-CN" altLang="en-US" dirty="0">
                <a:hlinkClick r:id="rId2"/>
              </a:rPr>
              <a:t>请</a:t>
            </a:r>
            <a:r>
              <a:rPr lang="zh-CN" altLang="en-US" dirty="0"/>
              <a:t>发送电子邮件至 </a:t>
            </a:r>
            <a:r>
              <a:rPr lang="en-US" dirty="0">
                <a:hlinkClick r:id="rId3"/>
              </a:rPr>
              <a:t>customer.support@dhl.com</a:t>
            </a:r>
            <a:r>
              <a:rPr lang="en-US" dirty="0"/>
              <a:t>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dirty="0"/>
              <a:t>如果 </a:t>
            </a:r>
            <a:r>
              <a:rPr lang="en-US" dirty="0"/>
              <a:t>PO </a:t>
            </a:r>
            <a:r>
              <a:rPr lang="zh-CN" altLang="en-US" dirty="0"/>
              <a:t>不会发布，请仔细检查是否填写了所有要求的信息。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dirty="0"/>
              <a:t>确保发布数量低于可用数量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dirty="0"/>
              <a:t>如果需要额外的用户帐户，请与哈雷戴维森合作，以便他们可以升级到</a:t>
            </a:r>
            <a:r>
              <a:rPr lang="en-US" altLang="zh-CN" dirty="0"/>
              <a:t>DHL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4829176" y="1038224"/>
            <a:ext cx="3900824" cy="32677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00" b="1"/>
          </a:p>
          <a:p>
            <a:endParaRPr lang="en-US" sz="11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21465C-6110-4647-825B-836D808B954D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69046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7288" y="1105199"/>
            <a:ext cx="8529423" cy="3289820"/>
          </a:xfrm>
        </p:spPr>
        <p:txBody>
          <a:bodyPr/>
          <a:lstStyle/>
          <a:p>
            <a:pPr algn="ctr"/>
            <a:r>
              <a:rPr lang="en-US"/>
              <a:t>Q&amp;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</p:spTree>
    <p:extLst>
      <p:ext uri="{BB962C8B-B14F-4D97-AF65-F5344CB8AC3E}">
        <p14:creationId xmlns:p14="http://schemas.microsoft.com/office/powerpoint/2010/main" val="3994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供应商要求 </a:t>
            </a:r>
            <a:r>
              <a:rPr lang="en-US" altLang="zh-CN" dirty="0"/>
              <a:t>(</a:t>
            </a:r>
            <a:r>
              <a:rPr lang="en-US" dirty="0"/>
              <a:t>Supplier Requirements)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5C1FB6-0B8F-4841-85CA-6B825C0CB4F2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7C7F10-9653-64A9-19AA-80B469D8EA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8" y="1200912"/>
            <a:ext cx="8223694" cy="3180588"/>
          </a:xfrm>
        </p:spPr>
        <p:txBody>
          <a:bodyPr/>
          <a:lstStyle/>
          <a:p>
            <a:r>
              <a:rPr lang="en-US" sz="1400" dirty="0"/>
              <a:t>•   </a:t>
            </a:r>
            <a:r>
              <a:rPr lang="zh-CN" altLang="en-US" sz="1400" dirty="0"/>
              <a:t>其他职责根据门户业务要求审查。</a:t>
            </a:r>
            <a:endParaRPr lang="en-US" altLang="zh-CN" sz="1400" dirty="0"/>
          </a:p>
          <a:p>
            <a:r>
              <a:rPr lang="en-US" sz="1400" dirty="0"/>
              <a:t>•   </a:t>
            </a:r>
            <a:r>
              <a:rPr lang="zh-CN" altLang="en-US" sz="1400" dirty="0"/>
              <a:t>供应商应发送</a:t>
            </a:r>
            <a:r>
              <a:rPr lang="en-US" altLang="zh-CN" sz="1400" dirty="0"/>
              <a:t>/</a:t>
            </a:r>
            <a:r>
              <a:rPr lang="zh-CN" altLang="en-US" sz="1400" dirty="0"/>
              <a:t>添加 </a:t>
            </a:r>
            <a:r>
              <a:rPr lang="en-US" altLang="zh-CN" sz="1400" dirty="0"/>
              <a:t>ASN</a:t>
            </a:r>
            <a:r>
              <a:rPr lang="zh-CN" altLang="en-US" sz="1400" dirty="0"/>
              <a:t>。</a:t>
            </a:r>
            <a:endParaRPr lang="en-US" sz="1400" dirty="0"/>
          </a:p>
          <a:p>
            <a:r>
              <a:rPr lang="en-US" sz="1400" dirty="0"/>
              <a:t>•   </a:t>
            </a:r>
            <a:r>
              <a:rPr lang="zh-CN" altLang="en-US" sz="1400" dirty="0"/>
              <a:t>供应商负责准确 </a:t>
            </a:r>
            <a:r>
              <a:rPr lang="en-US" altLang="zh-CN" sz="1400" dirty="0"/>
              <a:t>ASN </a:t>
            </a:r>
            <a:r>
              <a:rPr lang="zh-CN" altLang="en-US" sz="1400" dirty="0"/>
              <a:t>数据属性。</a:t>
            </a:r>
            <a:endParaRPr lang="en-US" sz="1400" dirty="0"/>
          </a:p>
          <a:p>
            <a:r>
              <a:rPr lang="en-US" sz="1400" dirty="0"/>
              <a:t>•   </a:t>
            </a:r>
            <a:r>
              <a:rPr lang="zh-CN" altLang="en-US" sz="1400" dirty="0"/>
              <a:t>供应商负责办理出口清关工作。</a:t>
            </a:r>
            <a:endParaRPr lang="en-US" altLang="zh-CN" sz="1400" dirty="0"/>
          </a:p>
          <a:p>
            <a:r>
              <a:rPr lang="en-US" sz="1400" dirty="0"/>
              <a:t>•   </a:t>
            </a:r>
            <a:r>
              <a:rPr lang="zh-CN" altLang="en-US" sz="1400" dirty="0"/>
              <a:t>供应商负责必要的包装的开发、准备和支付费用。</a:t>
            </a:r>
            <a:endParaRPr lang="en-US" sz="1400" dirty="0"/>
          </a:p>
          <a:p>
            <a:r>
              <a:rPr lang="en-US" sz="1400" dirty="0"/>
              <a:t>•   </a:t>
            </a:r>
            <a:r>
              <a:rPr lang="zh-CN" altLang="en-US" sz="1400" dirty="0"/>
              <a:t>供应商通过 </a:t>
            </a:r>
            <a:r>
              <a:rPr lang="en-US" altLang="zh-CN" sz="1400" dirty="0"/>
              <a:t>TOP </a:t>
            </a:r>
            <a:r>
              <a:rPr lang="zh-CN" altLang="en-US" sz="1400" dirty="0"/>
              <a:t>门户提交 </a:t>
            </a:r>
            <a:r>
              <a:rPr lang="en-US" altLang="zh-CN" sz="1400" dirty="0"/>
              <a:t>RTS </a:t>
            </a:r>
            <a:r>
              <a:rPr lang="zh-CN" altLang="en-US" sz="1400" dirty="0"/>
              <a:t>通知。</a:t>
            </a:r>
            <a:endParaRPr lang="en-US" altLang="zh-CN" sz="1400" dirty="0"/>
          </a:p>
          <a:p>
            <a:endParaRPr lang="en-US" sz="1400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82835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BD115A7-01C1-F398-6E68-08453DEB6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00" y="1314571"/>
            <a:ext cx="8316000" cy="2556906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6ED079E-C14E-3DF2-F622-ABC4C4766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 anchor="b">
            <a:normAutofit/>
          </a:bodyPr>
          <a:lstStyle/>
          <a:p>
            <a:r>
              <a:rPr lang="zh-CN" altLang="en-US" dirty="0"/>
              <a:t>业务时间 </a:t>
            </a:r>
            <a:r>
              <a:rPr lang="en-US" altLang="zh-CN" dirty="0"/>
              <a:t>(</a:t>
            </a:r>
            <a:r>
              <a:rPr lang="en-US" dirty="0"/>
              <a:t>Hours of Operation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9620E5-233D-4E66-FC2A-B1F81D2347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Confidential and Proprietary of DHL Supply Chain- DHL Supply Chain Transport Order Portal (TOP) User Guide | Marelli Supplier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5938B6-08B6-9B9C-82CB-D8704F58F6A5}"/>
              </a:ext>
            </a:extLst>
          </p:cNvPr>
          <p:cNvSpPr txBox="1"/>
          <p:nvPr/>
        </p:nvSpPr>
        <p:spPr>
          <a:xfrm>
            <a:off x="2045970" y="1274046"/>
            <a:ext cx="2813050" cy="1928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ja-JP" altLang="en-US" sz="1200" dirty="0"/>
              <a:t>夏令时间 </a:t>
            </a:r>
            <a:r>
              <a:rPr lang="en-US" altLang="ja-JP" sz="1200" dirty="0"/>
              <a:t>3</a:t>
            </a:r>
            <a:r>
              <a:rPr lang="zh-CN" altLang="en-US" sz="1200" dirty="0"/>
              <a:t>月</a:t>
            </a:r>
            <a:r>
              <a:rPr lang="en-US" altLang="zh-CN" sz="1200" dirty="0"/>
              <a:t>12</a:t>
            </a:r>
            <a:r>
              <a:rPr lang="zh-CN" altLang="en-US" sz="1200" dirty="0"/>
              <a:t>号到</a:t>
            </a:r>
            <a:r>
              <a:rPr lang="en-US" altLang="zh-CN" sz="1200" dirty="0"/>
              <a:t>11</a:t>
            </a:r>
            <a:r>
              <a:rPr lang="zh-CN" altLang="en-US" sz="1200" dirty="0"/>
              <a:t>月</a:t>
            </a:r>
            <a:r>
              <a:rPr lang="en-US" altLang="zh-CN" sz="1200" dirty="0"/>
              <a:t>5</a:t>
            </a:r>
            <a:r>
              <a:rPr lang="zh-CN" altLang="en-US" sz="1200" dirty="0"/>
              <a:t>号</a:t>
            </a:r>
            <a:endParaRPr lang="en-US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C92D75-5CE3-C570-6A5C-431EA9C4AF8B}"/>
              </a:ext>
            </a:extLst>
          </p:cNvPr>
          <p:cNvSpPr txBox="1"/>
          <p:nvPr/>
        </p:nvSpPr>
        <p:spPr>
          <a:xfrm>
            <a:off x="2045970" y="2569794"/>
            <a:ext cx="2813050" cy="1928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200" dirty="0"/>
              <a:t>非</a:t>
            </a:r>
            <a:r>
              <a:rPr lang="ja-JP" altLang="en-US" sz="1200" dirty="0"/>
              <a:t>夏令时间 </a:t>
            </a:r>
            <a:r>
              <a:rPr lang="en-US" altLang="ja-JP" sz="1200" dirty="0"/>
              <a:t>11</a:t>
            </a:r>
            <a:r>
              <a:rPr lang="zh-CN" altLang="en-US" sz="1200" dirty="0"/>
              <a:t>月</a:t>
            </a:r>
            <a:r>
              <a:rPr lang="en-US" altLang="zh-CN" sz="1200" dirty="0"/>
              <a:t>5</a:t>
            </a:r>
            <a:r>
              <a:rPr lang="zh-CN" altLang="en-US" sz="1200" dirty="0"/>
              <a:t>号到</a:t>
            </a:r>
            <a:r>
              <a:rPr lang="en-US" altLang="zh-CN" sz="1200" dirty="0"/>
              <a:t>3</a:t>
            </a:r>
            <a:r>
              <a:rPr lang="zh-CN" altLang="en-US" sz="1200" dirty="0"/>
              <a:t>月</a:t>
            </a:r>
            <a:r>
              <a:rPr lang="en-US" altLang="zh-CN" sz="1200" dirty="0"/>
              <a:t>12</a:t>
            </a:r>
            <a:r>
              <a:rPr lang="zh-CN" altLang="en-US" sz="1200" dirty="0"/>
              <a:t>号</a:t>
            </a:r>
            <a:endParaRPr lang="en-US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AC26AA-2A75-DE9D-B1A1-FED751267D74}"/>
              </a:ext>
            </a:extLst>
          </p:cNvPr>
          <p:cNvSpPr txBox="1"/>
          <p:nvPr/>
        </p:nvSpPr>
        <p:spPr>
          <a:xfrm>
            <a:off x="2254250" y="2333799"/>
            <a:ext cx="654050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交接工作</a:t>
            </a:r>
            <a:endParaRPr lang="en-US" sz="105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9B893D-0CEB-4BCC-FF92-BA75EE3B9F07}"/>
              </a:ext>
            </a:extLst>
          </p:cNvPr>
          <p:cNvSpPr txBox="1"/>
          <p:nvPr/>
        </p:nvSpPr>
        <p:spPr>
          <a:xfrm>
            <a:off x="5664200" y="2331251"/>
            <a:ext cx="654050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交接工作</a:t>
            </a:r>
            <a:endParaRPr lang="en-US" altLang="zh-CN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CF6A05-0E9E-4A30-5AF0-E7A6A0056861}"/>
              </a:ext>
            </a:extLst>
          </p:cNvPr>
          <p:cNvSpPr txBox="1"/>
          <p:nvPr/>
        </p:nvSpPr>
        <p:spPr>
          <a:xfrm>
            <a:off x="2254250" y="3604616"/>
            <a:ext cx="654050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交接工作</a:t>
            </a:r>
            <a:endParaRPr lang="en-US" sz="105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C4EAB2-5351-1809-A170-0BFB48074AB5}"/>
              </a:ext>
            </a:extLst>
          </p:cNvPr>
          <p:cNvSpPr txBox="1"/>
          <p:nvPr/>
        </p:nvSpPr>
        <p:spPr>
          <a:xfrm>
            <a:off x="5664200" y="3599535"/>
            <a:ext cx="622302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交接工作</a:t>
            </a:r>
            <a:endParaRPr lang="en-US" sz="105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D90253-737C-0C10-FE5F-0BD929B8F17F}"/>
              </a:ext>
            </a:extLst>
          </p:cNvPr>
          <p:cNvSpPr txBox="1"/>
          <p:nvPr/>
        </p:nvSpPr>
        <p:spPr>
          <a:xfrm>
            <a:off x="605790" y="1780586"/>
            <a:ext cx="710876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利沃尼亚</a:t>
            </a:r>
            <a:endParaRPr lang="en-US" sz="105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26208B-9816-9C9E-79D0-96B2E6A68C55}"/>
              </a:ext>
            </a:extLst>
          </p:cNvPr>
          <p:cNvSpPr txBox="1"/>
          <p:nvPr/>
        </p:nvSpPr>
        <p:spPr>
          <a:xfrm>
            <a:off x="797550" y="2303146"/>
            <a:ext cx="349250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曼谷</a:t>
            </a:r>
            <a:endParaRPr lang="en-US" sz="105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7127E0-885A-9813-334F-C9C62CCC91E8}"/>
              </a:ext>
            </a:extLst>
          </p:cNvPr>
          <p:cNvSpPr txBox="1"/>
          <p:nvPr/>
        </p:nvSpPr>
        <p:spPr>
          <a:xfrm>
            <a:off x="614513" y="3066815"/>
            <a:ext cx="710876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利沃尼亚</a:t>
            </a:r>
            <a:endParaRPr lang="en-US" sz="105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99B7EA-3A68-F318-7AF4-75FC30317CD6}"/>
              </a:ext>
            </a:extLst>
          </p:cNvPr>
          <p:cNvSpPr txBox="1"/>
          <p:nvPr/>
        </p:nvSpPr>
        <p:spPr>
          <a:xfrm>
            <a:off x="806273" y="3589375"/>
            <a:ext cx="349250" cy="170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050" dirty="0"/>
              <a:t>曼谷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589304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999" y="1105199"/>
            <a:ext cx="7956287" cy="1350000"/>
          </a:xfrm>
        </p:spPr>
        <p:txBody>
          <a:bodyPr/>
          <a:lstStyle/>
          <a:p>
            <a:r>
              <a:rPr lang="en-US" dirty="0"/>
              <a:t>The Transport order </a:t>
            </a:r>
            <a:br>
              <a:rPr lang="en-US" dirty="0"/>
            </a:br>
            <a:r>
              <a:rPr lang="en-US" dirty="0"/>
              <a:t>portal (TOP)-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逐步门户导航</a:t>
            </a:r>
            <a:br>
              <a:rPr lang="en-US" dirty="0"/>
            </a:br>
            <a:r>
              <a:rPr lang="en-US" dirty="0"/>
              <a:t>(Step by Step PORTAL NAVIGATION</a:t>
            </a:r>
            <a:r>
              <a:rPr lang="zh-CN" altLang="en-US" dirty="0"/>
              <a:t>）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</p:spTree>
    <p:extLst>
      <p:ext uri="{BB962C8B-B14F-4D97-AF65-F5344CB8AC3E}">
        <p14:creationId xmlns:p14="http://schemas.microsoft.com/office/powerpoint/2010/main" val="4194862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000" y="199403"/>
            <a:ext cx="8316000" cy="615553"/>
          </a:xfrm>
        </p:spPr>
        <p:txBody>
          <a:bodyPr/>
          <a:lstStyle/>
          <a:p>
            <a:r>
              <a:rPr lang="zh-CN" altLang="en-US" dirty="0"/>
              <a:t>访问 </a:t>
            </a:r>
            <a:r>
              <a:rPr lang="en-US" dirty="0"/>
              <a:t>TOP (ACCESS TO TOP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0862" y="1196992"/>
            <a:ext cx="2063536" cy="1639817"/>
          </a:xfrm>
          <a:prstGeom prst="rect">
            <a:avLst/>
          </a:prstGeom>
        </p:spPr>
      </p:pic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14281" y="4644000"/>
            <a:ext cx="4356006" cy="156194"/>
          </a:xfrm>
        </p:spPr>
        <p:txBody>
          <a:bodyPr/>
          <a:lstStyle/>
          <a:p>
            <a:r>
              <a:rPr lang="en-US" dirty="0"/>
              <a:t>Confidential and Proprietary of DHL Supply Chain- DHL Supply Chain Transport Order Portal (TOP) User Guide | Harley Davidson Supplier  </a:t>
            </a:r>
          </a:p>
        </p:txBody>
      </p:sp>
      <p:pic>
        <p:nvPicPr>
          <p:cNvPr id="50180" name="Picture 4" descr="Google Chrome - Wikipedi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794" y="1261405"/>
            <a:ext cx="646988" cy="64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2" name="Picture 6" descr="Download Microsoft Edge Web Browser | Microsof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043" y="1192626"/>
            <a:ext cx="931806" cy="78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5081829" y="2057933"/>
            <a:ext cx="1646852" cy="52775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800" b="1"/>
              <a:t>Internet Browser Requirements :</a:t>
            </a:r>
            <a:endParaRPr lang="en-US" sz="800"/>
          </a:p>
          <a:p>
            <a:r>
              <a:rPr lang="en-US" sz="800"/>
              <a:t>•Google Chrome “Preferred Browser”</a:t>
            </a:r>
          </a:p>
          <a:p>
            <a:r>
              <a:rPr lang="en-US" sz="800"/>
              <a:t>•Microsoft Edge</a:t>
            </a:r>
          </a:p>
        </p:txBody>
      </p:sp>
      <p:pic>
        <p:nvPicPr>
          <p:cNvPr id="50183" name="Picture 7" descr="image001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7" t="263" r="38729" b="1267"/>
          <a:stretch/>
        </p:blipFill>
        <p:spPr bwMode="auto">
          <a:xfrm>
            <a:off x="5219349" y="2918419"/>
            <a:ext cx="3781171" cy="1392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83FBB8F-9C62-4A5A-91AE-8E7D8D898170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03D441-82B9-4EDE-B3B0-B0B479F1B9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7E07F14-C700-4901-991C-F0E1B9763C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568" y="1077456"/>
            <a:ext cx="4540505" cy="328759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D224A3-7342-D847-8198-65C05CC973F4}"/>
              </a:ext>
            </a:extLst>
          </p:cNvPr>
          <p:cNvSpPr txBox="1"/>
          <p:nvPr/>
        </p:nvSpPr>
        <p:spPr>
          <a:xfrm>
            <a:off x="400568" y="1084617"/>
            <a:ext cx="4551099" cy="3300391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altLang="zh-CN" sz="1100" b="0" i="0" dirty="0">
                <a:solidFill>
                  <a:srgbClr val="3C4043"/>
                </a:solidFill>
                <a:effectLst/>
                <a:latin typeface="+mj-lt"/>
              </a:rPr>
              <a:t>DHL </a:t>
            </a:r>
            <a:r>
              <a:rPr lang="zh-CN" altLang="en-US" sz="1100" b="0" i="0" dirty="0">
                <a:solidFill>
                  <a:srgbClr val="3C4043"/>
                </a:solidFill>
                <a:effectLst/>
                <a:latin typeface="+mj-lt"/>
              </a:rPr>
              <a:t>的 </a:t>
            </a:r>
            <a:r>
              <a:rPr lang="en-US" altLang="zh-CN" sz="1100" b="0" i="0" dirty="0">
                <a:solidFill>
                  <a:srgbClr val="3C4043"/>
                </a:solidFill>
                <a:effectLst/>
                <a:latin typeface="+mj-lt"/>
              </a:rPr>
              <a:t>TOP </a:t>
            </a:r>
            <a:r>
              <a:rPr lang="zh-CN" altLang="en-US" sz="1100" b="0" i="0" dirty="0">
                <a:solidFill>
                  <a:srgbClr val="3C4043"/>
                </a:solidFill>
                <a:effectLst/>
                <a:latin typeface="+mj-lt"/>
              </a:rPr>
              <a:t>可以接入 </a:t>
            </a:r>
            <a:r>
              <a:rPr lang="en-US" altLang="zh-CN" sz="1100" b="0" i="0" dirty="0" err="1">
                <a:solidFill>
                  <a:srgbClr val="3C4043"/>
                </a:solidFill>
                <a:effectLst/>
                <a:latin typeface="+mj-lt"/>
              </a:rPr>
              <a:t>MySupplyChain</a:t>
            </a:r>
            <a:r>
              <a:rPr lang="zh-CN" altLang="en-US" sz="1100" b="0" i="0" dirty="0">
                <a:solidFill>
                  <a:srgbClr val="3C4043"/>
                </a:solidFill>
                <a:effectLst/>
                <a:latin typeface="+mj-lt"/>
              </a:rPr>
              <a:t>，该门户网站利用 </a:t>
            </a:r>
            <a:r>
              <a:rPr lang="en-US" altLang="zh-CN" sz="1100" b="0" i="0" dirty="0">
                <a:solidFill>
                  <a:srgbClr val="3C4043"/>
                </a:solidFill>
                <a:effectLst/>
                <a:latin typeface="+mj-lt"/>
              </a:rPr>
              <a:t>Microsoft Azure </a:t>
            </a:r>
            <a:r>
              <a:rPr lang="zh-CN" altLang="en-US" sz="1100" b="0" i="0" dirty="0">
                <a:solidFill>
                  <a:srgbClr val="3C4043"/>
                </a:solidFill>
                <a:effectLst/>
                <a:latin typeface="+mj-lt"/>
              </a:rPr>
              <a:t>网络作为凭据，因此您无需额外登录。 只要您的公司设置了此服务，您就可以使用与您在公司相同的单点登录用户名和密码。 此外，密码要求和帐户不活动容忍度将反映您自己公司的安全协议。</a:t>
            </a:r>
            <a:endParaRPr lang="en-US" altLang="zh-CN" sz="1100" b="0" i="0" dirty="0">
              <a:solidFill>
                <a:srgbClr val="3C4043"/>
              </a:solidFill>
              <a:effectLst/>
              <a:latin typeface="+mj-lt"/>
            </a:endParaRP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100" i="1" dirty="0">
                <a:solidFill>
                  <a:srgbClr val="FF0000"/>
                </a:solidFill>
                <a:effectLst/>
                <a:latin typeface="+mj-lt"/>
              </a:rPr>
              <a:t>如果您需要访问  </a:t>
            </a:r>
            <a:r>
              <a:rPr lang="en-US" altLang="zh-CN" sz="1100" i="1" dirty="0" err="1">
                <a:solidFill>
                  <a:srgbClr val="FF0000"/>
                </a:solidFill>
                <a:effectLst/>
                <a:latin typeface="+mj-lt"/>
              </a:rPr>
              <a:t>MySupplyChain</a:t>
            </a:r>
            <a:r>
              <a:rPr lang="zh-CN" altLang="en-US" sz="1100" i="1" dirty="0">
                <a:solidFill>
                  <a:srgbClr val="FF0000"/>
                </a:solidFill>
                <a:effectLst/>
                <a:latin typeface="+mj-lt"/>
              </a:rPr>
              <a:t>，请联系 </a:t>
            </a:r>
            <a:r>
              <a:rPr lang="en-US" altLang="zh-CN" sz="1100" i="1" dirty="0">
                <a:solidFill>
                  <a:srgbClr val="FF0000"/>
                </a:solidFill>
                <a:effectLst/>
                <a:latin typeface="+mj-lt"/>
              </a:rPr>
              <a:t>DHL </a:t>
            </a:r>
            <a:r>
              <a:rPr lang="zh-CN" altLang="en-US" sz="1100" i="1" dirty="0">
                <a:solidFill>
                  <a:srgbClr val="FF0000"/>
                </a:solidFill>
                <a:effectLst/>
                <a:latin typeface="+mj-lt"/>
              </a:rPr>
              <a:t>的代表</a:t>
            </a:r>
            <a:endParaRPr lang="en-US" altLang="zh-CN" sz="1100" i="1" dirty="0">
              <a:solidFill>
                <a:srgbClr val="FF0000"/>
              </a:solidFill>
              <a:effectLst/>
              <a:latin typeface="+mj-lt"/>
            </a:endParaRP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altLang="zh-CN" sz="1100" dirty="0"/>
              <a:t>- </a:t>
            </a:r>
            <a:r>
              <a:rPr lang="zh-CN" altLang="en-US" sz="1100" dirty="0"/>
              <a:t>在此处访问</a:t>
            </a:r>
            <a:r>
              <a:rPr lang="en-US" altLang="zh-CN" sz="1100" dirty="0"/>
              <a:t> </a:t>
            </a:r>
            <a:r>
              <a:rPr lang="en-US" altLang="zh-CN" sz="1100" dirty="0" err="1"/>
              <a:t>MySupplyChain</a:t>
            </a:r>
            <a:r>
              <a:rPr lang="zh-CN" altLang="en-US" sz="1100" dirty="0"/>
              <a:t>：</a:t>
            </a:r>
            <a:r>
              <a:rPr lang="en-US" altLang="zh-CN" sz="1100" dirty="0">
                <a:hlinkClick r:id="rId7"/>
              </a:rPr>
              <a:t> https://mysupplychain.dhl.com/auth_msc/</a:t>
            </a:r>
            <a:r>
              <a:rPr lang="en-US" altLang="zh-CN" sz="1100" dirty="0"/>
              <a:t> </a:t>
            </a:r>
            <a:endParaRPr lang="en-US" sz="11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altLang="zh-CN" sz="1100" dirty="0"/>
              <a:t>- </a:t>
            </a:r>
            <a:r>
              <a:rPr lang="zh-CN" altLang="en-US" sz="1100" dirty="0"/>
              <a:t>导航到网站时，您应该会看到一个熟悉的屏幕登录弹出框</a:t>
            </a:r>
            <a:endParaRPr lang="en-US" altLang="zh-CN" sz="11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zh-CN" altLang="en-US" sz="1100" dirty="0"/>
              <a:t>在这里，输入您用于登录公司帐户的相同凭据（工作的电子邮件和密码</a:t>
            </a:r>
            <a:r>
              <a:rPr lang="en-US" altLang="zh-CN" sz="1100" dirty="0"/>
              <a:t>)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altLang="zh-CN" sz="1100" dirty="0"/>
              <a:t>- </a:t>
            </a:r>
            <a:r>
              <a:rPr lang="zh-CN" altLang="en-US" sz="1100" dirty="0"/>
              <a:t>密码不应因</a:t>
            </a:r>
            <a:r>
              <a:rPr lang="en-US" altLang="zh-CN" sz="1100" dirty="0"/>
              <a:t>DHL</a:t>
            </a:r>
            <a:r>
              <a:rPr lang="zh-CN" altLang="en-US" sz="1100" dirty="0"/>
              <a:t>申请而过期。用户将使用单点登录（</a:t>
            </a:r>
            <a:r>
              <a:rPr lang="en-US" altLang="zh-CN" sz="1100" dirty="0"/>
              <a:t>Single Sign On/ SSO</a:t>
            </a:r>
            <a:r>
              <a:rPr lang="zh-CN" altLang="en-US" sz="1100" dirty="0"/>
              <a:t>），其中他们的密码是他们的系统密码。</a:t>
            </a:r>
            <a:endParaRPr lang="en-US" altLang="zh-CN" sz="11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altLang="zh-CN" sz="1100" dirty="0"/>
              <a:t>- </a:t>
            </a:r>
            <a:r>
              <a:rPr lang="zh-CN" altLang="en-US" sz="1100" dirty="0"/>
              <a:t>导航到 </a:t>
            </a:r>
            <a:r>
              <a:rPr lang="en-US" altLang="zh-CN" sz="1100" dirty="0" err="1"/>
              <a:t>MySupplyChain</a:t>
            </a:r>
            <a:r>
              <a:rPr lang="en-US" altLang="zh-CN" sz="1100" dirty="0"/>
              <a:t> </a:t>
            </a:r>
            <a:r>
              <a:rPr lang="zh-CN" altLang="en-US" sz="1100" dirty="0"/>
              <a:t>上的传输管理磁贴</a:t>
            </a:r>
            <a:endParaRPr lang="en-US" altLang="zh-CN" sz="11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altLang="zh-CN" sz="1100" dirty="0"/>
              <a:t>- </a:t>
            </a:r>
            <a:r>
              <a:rPr lang="zh-CN" altLang="en-US" sz="1100" dirty="0"/>
              <a:t>请注意，如果您在</a:t>
            </a:r>
            <a:r>
              <a:rPr lang="en-US" altLang="zh-CN" sz="1100" dirty="0"/>
              <a:t>90</a:t>
            </a:r>
            <a:r>
              <a:rPr lang="zh-CN" altLang="en-US" sz="1100" dirty="0"/>
              <a:t>天内没有登录您的帐户，它将被锁定，您将收到一封电子邮件，警告您登录。如果您不在</a:t>
            </a:r>
            <a:r>
              <a:rPr lang="en-US" altLang="zh-CN" sz="1100" dirty="0"/>
              <a:t>90</a:t>
            </a:r>
            <a:r>
              <a:rPr lang="zh-CN" altLang="en-US" sz="1100" dirty="0"/>
              <a:t>天内登录，则需要联系致</a:t>
            </a:r>
            <a:r>
              <a:rPr lang="en-US" altLang="zh-CN" sz="1100" dirty="0"/>
              <a:t>DHL</a:t>
            </a:r>
            <a:r>
              <a:rPr lang="zh-CN" altLang="en-US" sz="1100" dirty="0"/>
              <a:t>计划者，以响应您的帐户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en-US" sz="11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0FADA9-6EFA-70AA-F8CA-251E19380328}"/>
              </a:ext>
            </a:extLst>
          </p:cNvPr>
          <p:cNvSpPr txBox="1"/>
          <p:nvPr/>
        </p:nvSpPr>
        <p:spPr>
          <a:xfrm>
            <a:off x="5081829" y="2034681"/>
            <a:ext cx="1660727" cy="580672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91440">
              <a:lnSpc>
                <a:spcPct val="110000"/>
              </a:lnSpc>
              <a:spcAft>
                <a:spcPts val="500"/>
              </a:spcAft>
            </a:pPr>
            <a:r>
              <a:rPr lang="zh-CN" altLang="en-US" sz="900" dirty="0">
                <a:latin typeface="+mj-lt"/>
              </a:rPr>
              <a:t>互联网浏览器要求</a:t>
            </a:r>
            <a:endParaRPr lang="en-US" altLang="zh-CN" sz="900" dirty="0">
              <a:latin typeface="+mj-lt"/>
            </a:endParaRPr>
          </a:p>
          <a:p>
            <a:pPr marL="91440">
              <a:lnSpc>
                <a:spcPct val="110000"/>
              </a:lnSpc>
              <a:spcAft>
                <a:spcPts val="500"/>
              </a:spcAft>
            </a:pPr>
            <a:r>
              <a:rPr lang="en-US" altLang="ja-JP" sz="900" dirty="0">
                <a:solidFill>
                  <a:srgbClr val="3C4043"/>
                </a:solidFill>
                <a:latin typeface="+mj-lt"/>
              </a:rPr>
              <a:t>-    Google</a:t>
            </a:r>
            <a:r>
              <a:rPr lang="ja-JP" altLang="en-US" sz="900" dirty="0">
                <a:solidFill>
                  <a:srgbClr val="3C4043"/>
                </a:solidFill>
                <a:latin typeface="+mj-lt"/>
              </a:rPr>
              <a:t> </a:t>
            </a:r>
            <a:r>
              <a:rPr lang="en-US" altLang="ja-JP" sz="900" dirty="0">
                <a:solidFill>
                  <a:srgbClr val="3C4043"/>
                </a:solidFill>
                <a:latin typeface="+mj-lt"/>
              </a:rPr>
              <a:t>Chrome</a:t>
            </a:r>
            <a:r>
              <a:rPr lang="ja-JP" altLang="en-US" sz="900" b="0" i="0" dirty="0">
                <a:solidFill>
                  <a:srgbClr val="3C4043"/>
                </a:solidFill>
                <a:effectLst/>
                <a:latin typeface="+mj-lt"/>
              </a:rPr>
              <a:t> </a:t>
            </a:r>
            <a:r>
              <a:rPr lang="en-US" altLang="ja-JP" sz="900" dirty="0">
                <a:solidFill>
                  <a:srgbClr val="3C4043"/>
                </a:solidFill>
                <a:latin typeface="+mj-lt"/>
              </a:rPr>
              <a:t>(</a:t>
            </a:r>
            <a:r>
              <a:rPr lang="zh-CN" altLang="en-US" sz="900" dirty="0">
                <a:solidFill>
                  <a:srgbClr val="3C4043"/>
                </a:solidFill>
                <a:latin typeface="+mj-lt"/>
              </a:rPr>
              <a:t>建议</a:t>
            </a:r>
            <a:r>
              <a:rPr lang="en-US" altLang="zh-CN" sz="900" dirty="0">
                <a:solidFill>
                  <a:srgbClr val="3C4043"/>
                </a:solidFill>
                <a:latin typeface="+mj-lt"/>
              </a:rPr>
              <a:t>)</a:t>
            </a:r>
          </a:p>
          <a:p>
            <a:pPr marL="91440">
              <a:lnSpc>
                <a:spcPct val="110000"/>
              </a:lnSpc>
              <a:spcAft>
                <a:spcPts val="500"/>
              </a:spcAft>
            </a:pPr>
            <a:r>
              <a:rPr lang="en-US" altLang="zh-CN" sz="900" dirty="0">
                <a:solidFill>
                  <a:srgbClr val="3C4043"/>
                </a:solidFill>
                <a:latin typeface="+mj-lt"/>
              </a:rPr>
              <a:t>-    Microsoft Edge</a:t>
            </a:r>
            <a:endParaRPr lang="en-US" altLang="zh-CN" sz="900" b="0" i="0" dirty="0">
              <a:solidFill>
                <a:srgbClr val="3C4043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01506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始入门和导航 </a:t>
            </a:r>
            <a:r>
              <a:rPr lang="en-US" altLang="zh-CN" dirty="0"/>
              <a:t>(</a:t>
            </a:r>
            <a:r>
              <a:rPr lang="en-US" dirty="0"/>
              <a:t>Getting Started and Navigation) – 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9" name="Line Callout 1 8"/>
          <p:cNvSpPr/>
          <p:nvPr/>
        </p:nvSpPr>
        <p:spPr bwMode="auto">
          <a:xfrm>
            <a:off x="222183" y="2969583"/>
            <a:ext cx="1005840" cy="588396"/>
          </a:xfrm>
          <a:prstGeom prst="borderCallout1">
            <a:avLst>
              <a:gd name="adj1" fmla="val 50634"/>
              <a:gd name="adj2" fmla="val 100363"/>
              <a:gd name="adj3" fmla="val 9847"/>
              <a:gd name="adj4" fmla="val 184352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Profile</a:t>
            </a: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00" i="0" u="none" strike="noStrike" cap="none" normalizeH="0" baseline="0" dirty="0">
                <a:ln>
                  <a:noFill/>
                </a:ln>
                <a:effectLst/>
              </a:rPr>
              <a:t>查看并确认当前登录凭据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6" name="Line Callout 1 15"/>
          <p:cNvSpPr/>
          <p:nvPr/>
        </p:nvSpPr>
        <p:spPr bwMode="auto">
          <a:xfrm>
            <a:off x="222183" y="3729353"/>
            <a:ext cx="1005840" cy="588396"/>
          </a:xfrm>
          <a:prstGeom prst="borderCallout1">
            <a:avLst>
              <a:gd name="adj1" fmla="val 50634"/>
              <a:gd name="adj2" fmla="val 100363"/>
              <a:gd name="adj3" fmla="val -33987"/>
              <a:gd name="adj4" fmla="val 18514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Logout </a:t>
            </a: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00" dirty="0"/>
              <a:t>退出 </a:t>
            </a:r>
            <a:r>
              <a:rPr lang="en-US" altLang="zh-CN" sz="900" dirty="0"/>
              <a:t>App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/>
          <a:srcRect l="1053" t="5443" r="95458" b="44949"/>
          <a:stretch/>
        </p:blipFill>
        <p:spPr>
          <a:xfrm>
            <a:off x="2155183" y="1801706"/>
            <a:ext cx="371598" cy="199449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8DC088-0569-4344-AE9F-393E860E8F47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Line Callout 1 9">
            <a:extLst>
              <a:ext uri="{FF2B5EF4-FFF2-40B4-BE49-F238E27FC236}">
                <a16:creationId xmlns:a16="http://schemas.microsoft.com/office/drawing/2014/main" id="{54C0C9D2-3D6B-437D-BBBA-91CBC3454374}"/>
              </a:ext>
            </a:extLst>
          </p:cNvPr>
          <p:cNvSpPr/>
          <p:nvPr/>
        </p:nvSpPr>
        <p:spPr bwMode="auto">
          <a:xfrm>
            <a:off x="222183" y="1376579"/>
            <a:ext cx="1005840" cy="634703"/>
          </a:xfrm>
          <a:prstGeom prst="borderCallout1">
            <a:avLst>
              <a:gd name="adj1" fmla="val 50634"/>
              <a:gd name="adj2" fmla="val 100363"/>
              <a:gd name="adj3" fmla="val 109269"/>
              <a:gd name="adj4" fmla="val 17890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Purchase Orders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(</a:t>
            </a:r>
            <a:r>
              <a:rPr lang="zh-CN" altLang="en-US" sz="900" dirty="0">
                <a:solidFill>
                  <a:schemeClr val="accent4"/>
                </a:solidFill>
              </a:rPr>
              <a:t>还没计划</a:t>
            </a:r>
            <a:r>
              <a:rPr lang="en-US" sz="900" dirty="0">
                <a:solidFill>
                  <a:schemeClr val="accent4"/>
                </a:solidFill>
              </a:rPr>
              <a:t>) </a:t>
            </a: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00" i="0" u="none" strike="noStrike" cap="none" normalizeH="0" baseline="0" dirty="0">
                <a:ln>
                  <a:noFill/>
                </a:ln>
                <a:effectLst/>
              </a:rPr>
              <a:t>搜索、编辑、修改、取消、发布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7" name="Line Callout 1 11">
            <a:extLst>
              <a:ext uri="{FF2B5EF4-FFF2-40B4-BE49-F238E27FC236}">
                <a16:creationId xmlns:a16="http://schemas.microsoft.com/office/drawing/2014/main" id="{3C04372D-B043-4BE9-A572-2B3B135D4964}"/>
              </a:ext>
            </a:extLst>
          </p:cNvPr>
          <p:cNvSpPr/>
          <p:nvPr/>
        </p:nvSpPr>
        <p:spPr bwMode="auto">
          <a:xfrm>
            <a:off x="222183" y="2163506"/>
            <a:ext cx="1005840" cy="634703"/>
          </a:xfrm>
          <a:prstGeom prst="borderCallout1">
            <a:avLst>
              <a:gd name="adj1" fmla="val 50634"/>
              <a:gd name="adj2" fmla="val 100363"/>
              <a:gd name="adj3" fmla="val 57061"/>
              <a:gd name="adj4" fmla="val 18365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Orders</a:t>
            </a:r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accent4"/>
                </a:solidFill>
              </a:rPr>
              <a:t>(</a:t>
            </a:r>
            <a:r>
              <a:rPr lang="zh-CN" altLang="en-US" sz="900" dirty="0">
                <a:solidFill>
                  <a:schemeClr val="accent4"/>
                </a:solidFill>
              </a:rPr>
              <a:t>计划</a:t>
            </a:r>
            <a:r>
              <a:rPr lang="en-US" altLang="zh-CN" sz="900" dirty="0">
                <a:solidFill>
                  <a:schemeClr val="accent4"/>
                </a:solidFill>
              </a:rPr>
              <a:t>/</a:t>
            </a:r>
            <a:r>
              <a:rPr lang="zh-CN" altLang="en-US" sz="900" dirty="0">
                <a:solidFill>
                  <a:schemeClr val="accent4"/>
                </a:solidFill>
              </a:rPr>
              <a:t>发布</a:t>
            </a:r>
            <a:r>
              <a:rPr lang="en-US" sz="900" dirty="0">
                <a:solidFill>
                  <a:schemeClr val="accent4"/>
                </a:solidFill>
              </a:rPr>
              <a:t>)</a:t>
            </a:r>
            <a:endParaRPr lang="en-US" sz="900" dirty="0"/>
          </a:p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00" i="0" u="none" strike="noStrike" cap="none" normalizeH="0" baseline="0" dirty="0">
                <a:ln>
                  <a:noFill/>
                </a:ln>
                <a:effectLst/>
              </a:rPr>
              <a:t>搜索、编辑、修改、取消</a:t>
            </a:r>
            <a:endParaRPr kumimoji="0" lang="en-US" sz="900" i="0" u="none" strike="noStrike" cap="none" normalizeH="0" baseline="0" dirty="0">
              <a:ln>
                <a:noFill/>
              </a:ln>
              <a:effectLst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69773C-08A2-E8FB-B295-EB5071A8EB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8816" y="1801706"/>
            <a:ext cx="5292059" cy="164426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129865" y="1531137"/>
            <a:ext cx="22404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D40511"/>
                </a:solidFill>
              </a:rPr>
              <a:t>“Purchase Orders” </a:t>
            </a:r>
            <a:r>
              <a:rPr lang="zh-CN" altLang="en-US" sz="800" dirty="0">
                <a:solidFill>
                  <a:srgbClr val="D40511"/>
                </a:solidFill>
              </a:rPr>
              <a:t>屏幕将是供应商登录后看到的初始屏幕。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CFD3BDA-690A-176C-FE1F-A6E0258D5EAE}"/>
              </a:ext>
            </a:extLst>
          </p:cNvPr>
          <p:cNvSpPr txBox="1">
            <a:spLocks/>
          </p:cNvSpPr>
          <p:nvPr/>
        </p:nvSpPr>
        <p:spPr>
          <a:xfrm>
            <a:off x="1838273" y="1148892"/>
            <a:ext cx="1377015" cy="505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TOP </a:t>
            </a:r>
            <a:r>
              <a:rPr lang="zh-CN" altLang="en-US" b="1" dirty="0"/>
              <a:t>门户</a:t>
            </a:r>
            <a:endParaRPr lang="en-US" altLang="zh-CN" b="1" dirty="0"/>
          </a:p>
          <a:p>
            <a:pPr algn="ctr"/>
            <a:r>
              <a:rPr lang="zh-CN" altLang="en-US" b="1" dirty="0"/>
              <a:t>的导航图标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83959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4DEC04-59A7-351C-CEE2-E65CC328B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903" y="1327655"/>
            <a:ext cx="7278624" cy="14366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审核 </a:t>
            </a:r>
            <a:r>
              <a:rPr lang="en-US" altLang="zh-CN" dirty="0"/>
              <a:t>- </a:t>
            </a:r>
            <a:r>
              <a:rPr lang="zh-CN" altLang="en-US" dirty="0"/>
              <a:t>搜索 </a:t>
            </a:r>
            <a:r>
              <a:rPr lang="en-US" altLang="zh-CN" dirty="0"/>
              <a:t>(</a:t>
            </a:r>
            <a:r>
              <a:rPr lang="en-US" dirty="0"/>
              <a:t>Order Review – Search)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35CB41-D15E-45EE-899D-F1621F887E81}"/>
              </a:ext>
            </a:extLst>
          </p:cNvPr>
          <p:cNvSpPr/>
          <p:nvPr/>
        </p:nvSpPr>
        <p:spPr bwMode="auto">
          <a:xfrm>
            <a:off x="76840" y="1"/>
            <a:ext cx="1214079" cy="199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0" name="Line Callout 1 5">
            <a:extLst>
              <a:ext uri="{FF2B5EF4-FFF2-40B4-BE49-F238E27FC236}">
                <a16:creationId xmlns:a16="http://schemas.microsoft.com/office/drawing/2014/main" id="{FF23DB70-6622-47E3-A27C-387CEE7BEF5C}"/>
              </a:ext>
            </a:extLst>
          </p:cNvPr>
          <p:cNvSpPr/>
          <p:nvPr/>
        </p:nvSpPr>
        <p:spPr bwMode="auto">
          <a:xfrm>
            <a:off x="189109" y="1465036"/>
            <a:ext cx="1005840" cy="457200"/>
          </a:xfrm>
          <a:prstGeom prst="borderCallout1">
            <a:avLst>
              <a:gd name="adj1" fmla="val 50634"/>
              <a:gd name="adj2" fmla="val 100363"/>
              <a:gd name="adj3" fmla="val 41779"/>
              <a:gd name="adj4" fmla="val 12169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1)</a:t>
            </a:r>
            <a:r>
              <a:rPr lang="en-US" sz="900" b="1" dirty="0"/>
              <a:t> </a:t>
            </a:r>
            <a:r>
              <a:rPr lang="zh-CN" altLang="en-US" sz="900" dirty="0"/>
              <a:t>导航至 </a:t>
            </a:r>
            <a:r>
              <a:rPr lang="en-US" altLang="zh-CN" sz="900" dirty="0"/>
              <a:t>App </a:t>
            </a:r>
            <a:r>
              <a:rPr lang="zh-CN" altLang="en-US" sz="900" dirty="0"/>
              <a:t>的采购订单选项卡</a:t>
            </a: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1" name="Line Callout 1 7">
            <a:extLst>
              <a:ext uri="{FF2B5EF4-FFF2-40B4-BE49-F238E27FC236}">
                <a16:creationId xmlns:a16="http://schemas.microsoft.com/office/drawing/2014/main" id="{5E6A437C-FAD8-4493-A924-3400A1E2529C}"/>
              </a:ext>
            </a:extLst>
          </p:cNvPr>
          <p:cNvSpPr/>
          <p:nvPr/>
        </p:nvSpPr>
        <p:spPr bwMode="auto">
          <a:xfrm>
            <a:off x="189109" y="2100272"/>
            <a:ext cx="1005840" cy="457200"/>
          </a:xfrm>
          <a:prstGeom prst="borderCallout1">
            <a:avLst>
              <a:gd name="adj1" fmla="val 50634"/>
              <a:gd name="adj2" fmla="val 100363"/>
              <a:gd name="adj3" fmla="val -30775"/>
              <a:gd name="adj4" fmla="val 152836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2)</a:t>
            </a:r>
            <a:r>
              <a:rPr lang="en-US" sz="900" dirty="0"/>
              <a:t> </a:t>
            </a:r>
            <a:r>
              <a:rPr lang="zh-CN" altLang="en-US" sz="900" dirty="0"/>
              <a:t>在此输入您的订单号或 </a:t>
            </a:r>
            <a:r>
              <a:rPr lang="en-US" altLang="zh-CN" sz="900" dirty="0"/>
              <a:t>PO </a:t>
            </a:r>
            <a:r>
              <a:rPr lang="zh-CN" altLang="en-US" sz="900" dirty="0"/>
              <a:t>号</a:t>
            </a: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2" name="Line Callout 1 8">
            <a:extLst>
              <a:ext uri="{FF2B5EF4-FFF2-40B4-BE49-F238E27FC236}">
                <a16:creationId xmlns:a16="http://schemas.microsoft.com/office/drawing/2014/main" id="{991AAC7A-FC64-41C3-99F1-61E09399C1AA}"/>
              </a:ext>
            </a:extLst>
          </p:cNvPr>
          <p:cNvSpPr/>
          <p:nvPr/>
        </p:nvSpPr>
        <p:spPr bwMode="auto">
          <a:xfrm>
            <a:off x="414000" y="2794383"/>
            <a:ext cx="1046524" cy="615553"/>
          </a:xfrm>
          <a:prstGeom prst="borderCallout1">
            <a:avLst>
              <a:gd name="adj1" fmla="val 47273"/>
              <a:gd name="adj2" fmla="val 100824"/>
              <a:gd name="adj3" fmla="val -55276"/>
              <a:gd name="adj4" fmla="val 12021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3)</a:t>
            </a:r>
            <a:r>
              <a:rPr lang="en-US" sz="900" dirty="0"/>
              <a:t> </a:t>
            </a:r>
            <a:r>
              <a:rPr lang="zh-CN" altLang="en-US" sz="900" dirty="0"/>
              <a:t>点击方框，然后点击角上的</a:t>
            </a:r>
            <a:r>
              <a:rPr lang="zh-CN" altLang="en-US" sz="900" dirty="0">
                <a:solidFill>
                  <a:srgbClr val="D40511"/>
                </a:solidFill>
              </a:rPr>
              <a:t>红色</a:t>
            </a:r>
            <a:r>
              <a:rPr lang="zh-CN" altLang="en-US" sz="900" dirty="0"/>
              <a:t>发布按钮</a:t>
            </a: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Line Callout 1 11">
            <a:extLst>
              <a:ext uri="{FF2B5EF4-FFF2-40B4-BE49-F238E27FC236}">
                <a16:creationId xmlns:a16="http://schemas.microsoft.com/office/drawing/2014/main" id="{16BFCC92-CEE8-4904-80ED-8001EE44B5E7}"/>
              </a:ext>
            </a:extLst>
          </p:cNvPr>
          <p:cNvSpPr/>
          <p:nvPr/>
        </p:nvSpPr>
        <p:spPr bwMode="auto">
          <a:xfrm>
            <a:off x="7499616" y="3294707"/>
            <a:ext cx="1291215" cy="894379"/>
          </a:xfrm>
          <a:prstGeom prst="borderCallout1">
            <a:avLst>
              <a:gd name="adj1" fmla="val -3374"/>
              <a:gd name="adj2" fmla="val 49835"/>
              <a:gd name="adj3" fmla="val -179041"/>
              <a:gd name="adj4" fmla="val 71695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accent4"/>
                </a:solidFill>
              </a:rPr>
              <a:t>4) </a:t>
            </a:r>
            <a:r>
              <a:rPr lang="zh-CN" altLang="en-US" sz="900" dirty="0"/>
              <a:t>供应商可以在不知道 </a:t>
            </a:r>
            <a:r>
              <a:rPr lang="en-US" altLang="zh-CN" sz="900" dirty="0"/>
              <a:t>PO </a:t>
            </a:r>
            <a:r>
              <a:rPr lang="zh-CN" altLang="en-US" sz="900" dirty="0"/>
              <a:t>号的情况下通过单击过滤器并输入供应商 </a:t>
            </a:r>
            <a:r>
              <a:rPr lang="en-US" altLang="zh-CN" sz="900" dirty="0"/>
              <a:t>ID </a:t>
            </a:r>
            <a:r>
              <a:rPr lang="zh-CN" altLang="en-US" sz="900" dirty="0"/>
              <a:t>或目的地进行搜索。</a:t>
            </a:r>
            <a:r>
              <a:rPr lang="zh-CN" altLang="en-US" sz="900" dirty="0">
                <a:solidFill>
                  <a:srgbClr val="D40511"/>
                </a:solidFill>
              </a:rPr>
              <a:t>（有关说明，请参阅下一页）</a:t>
            </a:r>
            <a:endParaRPr kumimoji="0" lang="en-US" sz="9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455033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6B53EAC9-FEAC-D9C8-AF1A-A2A7C7026C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4338" y="1066196"/>
            <a:ext cx="8315325" cy="1351944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E058A39-10DB-43CD-8030-3AE5B4BE7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审核 </a:t>
            </a:r>
            <a:r>
              <a:rPr lang="en-US" altLang="zh-CN" dirty="0"/>
              <a:t>- </a:t>
            </a:r>
            <a:r>
              <a:rPr lang="zh-CN" altLang="en-US" dirty="0"/>
              <a:t>搜索 </a:t>
            </a:r>
            <a:r>
              <a:rPr lang="en-US" altLang="zh-CN" dirty="0"/>
              <a:t>(</a:t>
            </a:r>
            <a:r>
              <a:rPr lang="en-US"/>
              <a:t>Order Review </a:t>
            </a:r>
            <a:r>
              <a:rPr lang="en-US" dirty="0"/>
              <a:t>– </a:t>
            </a:r>
            <a:r>
              <a:rPr lang="en-US"/>
              <a:t>Search</a:t>
            </a:r>
            <a:r>
              <a:rPr lang="en-US" dirty="0"/>
              <a:t>)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EF1A44-40C9-42C2-8D54-26C6CD4A8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and Proprietary of DHL Supply Chain- DHL Supply Chain Transport Order Portal (TOP) User Guide | Harley Davidson Supplier  </a:t>
            </a:r>
          </a:p>
        </p:txBody>
      </p:sp>
      <p:sp>
        <p:nvSpPr>
          <p:cNvPr id="8" name="Line Callout 1 11">
            <a:extLst>
              <a:ext uri="{FF2B5EF4-FFF2-40B4-BE49-F238E27FC236}">
                <a16:creationId xmlns:a16="http://schemas.microsoft.com/office/drawing/2014/main" id="{9F496933-A545-424A-B1D5-D49D41CEB3B9}"/>
              </a:ext>
            </a:extLst>
          </p:cNvPr>
          <p:cNvSpPr/>
          <p:nvPr/>
        </p:nvSpPr>
        <p:spPr bwMode="auto">
          <a:xfrm>
            <a:off x="7576457" y="2646870"/>
            <a:ext cx="1464701" cy="980088"/>
          </a:xfrm>
          <a:prstGeom prst="borderCallout1">
            <a:avLst>
              <a:gd name="adj1" fmla="val 353"/>
              <a:gd name="adj2" fmla="val 50275"/>
              <a:gd name="adj3" fmla="val -91008"/>
              <a:gd name="adj4" fmla="val 12931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000" dirty="0"/>
              <a:t>供应商可以在不知道其 </a:t>
            </a:r>
            <a:r>
              <a:rPr lang="en-US" altLang="zh-CN" sz="1000" dirty="0"/>
              <a:t>PO </a:t>
            </a:r>
            <a:r>
              <a:rPr lang="zh-CN" altLang="en-US" sz="1000" dirty="0"/>
              <a:t>的情况下进行搜索，只需单击筛器取货地点、交货地点、并输入订单状态或订单创建日期即可。</a:t>
            </a:r>
            <a:endParaRPr kumimoji="0" lang="en-US" sz="10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8B7CAC-A458-5FE0-3D02-93856DC13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7181" y="2792457"/>
            <a:ext cx="2252584" cy="123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867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5RUk69lEEph4Yz8MMf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Yp7ySz7KJLbKUQ_1.r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BWZtfXJNrTdMcxoNSB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GczGxogCcn0eHaLnLp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 - OK.potx" id="{3702A1B1-346B-474A-8FAD-00E97BE9B375}" vid="{1AC30758-460E-46BA-B6FC-78BF402DC0D4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6357DE9554B14F91BD8503FB205FED" ma:contentTypeVersion="12" ma:contentTypeDescription="Create a new document." ma:contentTypeScope="" ma:versionID="78f187236cc5a19294f387971361ee59">
  <xsd:schema xmlns:xsd="http://www.w3.org/2001/XMLSchema" xmlns:xs="http://www.w3.org/2001/XMLSchema" xmlns:p="http://schemas.microsoft.com/office/2006/metadata/properties" xmlns:ns2="85abd33b-05e1-4c2b-816b-b8b9c5903ffb" xmlns:ns3="ee1c3b47-3674-499a-b9b0-0f891116bb1c" targetNamespace="http://schemas.microsoft.com/office/2006/metadata/properties" ma:root="true" ma:fieldsID="f2a3ee66188cd1323d30c1bcc4daa909" ns2:_="" ns3:_="">
    <xsd:import namespace="85abd33b-05e1-4c2b-816b-b8b9c5903ffb"/>
    <xsd:import namespace="ee1c3b47-3674-499a-b9b0-0f891116bb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abd33b-05e1-4c2b-816b-b8b9c5903f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1c3b47-3674-499a-b9b0-0f891116bb1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96077A-FE35-43D8-823E-7B8B45A108FF}">
  <ds:schemaRefs>
    <ds:schemaRef ds:uri="1c49cde6-9236-45b5-9f7c-2db0cf8b887a"/>
    <ds:schemaRef ds:uri="d5b34bf2-5c25-4570-be97-571645059053"/>
    <ds:schemaRef ds:uri="d6ef3024-e5e4-4ee1-b3c5-903f953536e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C34A0CE-7C15-4C1C-ABCA-EE55AA6703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5E81BF-2E14-4584-B19B-AA74F9E4766D}"/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2306</TotalTime>
  <Words>3040</Words>
  <Application>Microsoft Office PowerPoint</Application>
  <PresentationFormat>On-screen Show (16:9)</PresentationFormat>
  <Paragraphs>186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Calibri</vt:lpstr>
      <vt:lpstr>Delivery</vt:lpstr>
      <vt:lpstr>Arial</vt:lpstr>
      <vt:lpstr>Wingdings</vt:lpstr>
      <vt:lpstr>DHL_PPT_16x9</vt:lpstr>
      <vt:lpstr>think-cell Folie</vt:lpstr>
      <vt:lpstr>DHL Supply Chain Transport Order Portal (TOP) User Guide</vt:lpstr>
      <vt:lpstr>   介绍INTRODUCTION</vt:lpstr>
      <vt:lpstr>供应商要求 (Supplier Requirements)</vt:lpstr>
      <vt:lpstr>业务时间 (Hours of Operation)</vt:lpstr>
      <vt:lpstr>The Transport order  portal (TOP)-  逐步门户导航 (Step by Step PORTAL NAVIGATION）</vt:lpstr>
      <vt:lpstr>访问 TOP (ACCESS TO TOP)</vt:lpstr>
      <vt:lpstr>开始入门和导航 (Getting Started and Navigation) – </vt:lpstr>
      <vt:lpstr>订单审核 - 搜索 (Order Review – Search)</vt:lpstr>
      <vt:lpstr>订单审核 - 搜索 (Order Review – Search)</vt:lpstr>
      <vt:lpstr>发布订单 – 取货和 (Release Order – Pickup and Delivery)</vt:lpstr>
      <vt:lpstr>订单修改 - 货运单位 （Order Modification- Ship Units）</vt:lpstr>
      <vt:lpstr>订单修改 - 一般信息/参考资料和备注 (Order Modification- General Information  / References and Remarks)</vt:lpstr>
      <vt:lpstr>订单修改 - 如果是危险装运 Order Modification- If Hazardous Yes</vt:lpstr>
      <vt:lpstr>参考资料和备注 - 特别说明: References and Remarks- Special Instructions: </vt:lpstr>
      <vt:lpstr>发布 (Release)</vt:lpstr>
      <vt:lpstr>参考资料和备注 - 特别说明: References and Remarks- Special Instructions: </vt:lpstr>
      <vt:lpstr>采购订单-列表排序 (Purchase Orders- Sorting of Lists)</vt:lpstr>
      <vt:lpstr>订单审核 - 详细信息 Order Review - Detail</vt:lpstr>
      <vt:lpstr>订单审核 - 详细信息 Order Review - Detail</vt:lpstr>
      <vt:lpstr>故障排除和提示 Troubleshooting and tips</vt:lpstr>
      <vt:lpstr>故障排除和提示 - TOP 门户</vt:lpstr>
      <vt:lpstr>Q&amp;A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JB Lingle (DHL Supply Chain)</dc:creator>
  <cp:keywords>16 to 9</cp:keywords>
  <cp:lastModifiedBy>Suwapatch Euaraksakul (DHL Supply Chain)</cp:lastModifiedBy>
  <cp:revision>1</cp:revision>
  <dcterms:created xsi:type="dcterms:W3CDTF">2019-10-31T16:09:05Z</dcterms:created>
  <dcterms:modified xsi:type="dcterms:W3CDTF">2023-08-30T08:5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ly 2017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Job No">
    <vt:lpwstr>62557</vt:lpwstr>
  </property>
  <property fmtid="{D5CDD505-2E9C-101B-9397-08002B2CF9AE}" pid="6" name="ContentTypeId">
    <vt:lpwstr>0x010100A66357DE9554B14F91BD8503FB205FED</vt:lpwstr>
  </property>
  <property fmtid="{D5CDD505-2E9C-101B-9397-08002B2CF9AE}" pid="7" name="MSIP_Label_736915f3-2f02-4945-8997-f2963298db46_Enabled">
    <vt:lpwstr>true</vt:lpwstr>
  </property>
  <property fmtid="{D5CDD505-2E9C-101B-9397-08002B2CF9AE}" pid="8" name="MSIP_Label_736915f3-2f02-4945-8997-f2963298db46_SetDate">
    <vt:lpwstr>2023-07-07T20:27:37Z</vt:lpwstr>
  </property>
  <property fmtid="{D5CDD505-2E9C-101B-9397-08002B2CF9AE}" pid="9" name="MSIP_Label_736915f3-2f02-4945-8997-f2963298db46_Method">
    <vt:lpwstr>Standard</vt:lpwstr>
  </property>
  <property fmtid="{D5CDD505-2E9C-101B-9397-08002B2CF9AE}" pid="10" name="MSIP_Label_736915f3-2f02-4945-8997-f2963298db46_Name">
    <vt:lpwstr>Internal</vt:lpwstr>
  </property>
  <property fmtid="{D5CDD505-2E9C-101B-9397-08002B2CF9AE}" pid="11" name="MSIP_Label_736915f3-2f02-4945-8997-f2963298db46_SiteId">
    <vt:lpwstr>cd99fef8-1cd3-4a2a-9bdf-15531181d65e</vt:lpwstr>
  </property>
  <property fmtid="{D5CDD505-2E9C-101B-9397-08002B2CF9AE}" pid="12" name="MSIP_Label_736915f3-2f02-4945-8997-f2963298db46_ActionId">
    <vt:lpwstr>a30524ae-beae-4c4f-b670-b137491a0780</vt:lpwstr>
  </property>
  <property fmtid="{D5CDD505-2E9C-101B-9397-08002B2CF9AE}" pid="13" name="MSIP_Label_736915f3-2f02-4945-8997-f2963298db46_ContentBits">
    <vt:lpwstr>1</vt:lpwstr>
  </property>
  <property fmtid="{D5CDD505-2E9C-101B-9397-08002B2CF9AE}" pid="14" name="MediaServiceImageTags">
    <vt:lpwstr/>
  </property>
</Properties>
</file>